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drawings/drawing2.xml" ContentType="application/vnd.openxmlformats-officedocument.drawingml.chartshape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slides/slide34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charts/chart17.xml" ContentType="application/vnd.openxmlformats-officedocument.drawingml.chart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charts/chart13.xml" ContentType="application/vnd.openxmlformats-officedocument.drawingml.chart+xml"/>
  <Override PartName="/ppt/charts/chart15.xml" ContentType="application/vnd.openxmlformats-officedocument.drawingml.char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charts/chart7.xml" ContentType="application/vnd.openxmlformats-officedocument.drawingml.chart+xml"/>
  <Override PartName="/ppt/charts/chart20.xml" ContentType="application/vnd.openxmlformats-officedocument.drawingml.chart+xml"/>
  <Default Extension="xlsx" ContentType="application/vnd.openxmlformats-officedocument.spreadsheetml.sheet"/>
  <Override PartName="/ppt/charts/chart3.xml" ContentType="application/vnd.openxmlformats-officedocument.drawingml.chart+xml"/>
  <Override PartName="/ppt/charts/chart5.xml" ContentType="application/vnd.openxmlformats-officedocument.drawingml.chart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drawings/drawing5.xml" ContentType="application/vnd.openxmlformats-officedocument.drawingml.chartshap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4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drawings/drawing3.xml" ContentType="application/vnd.openxmlformats-officedocument.drawingml.chartshape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4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rawings/drawing1.xml" ContentType="application/vnd.openxmlformats-officedocument.drawingml.chartshapes+xml"/>
  <Override PartName="/ppt/charts/chart18.xml" ContentType="application/vnd.openxmlformats-officedocument.drawingml.char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charts/chart16.xml" ContentType="application/vnd.openxmlformats-officedocument.drawingml.chart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charts/chart14.xml" ContentType="application/vnd.openxmlformats-officedocument.drawingml.char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charts/chart8.xml" ContentType="application/vnd.openxmlformats-officedocument.drawingml.chart+xml"/>
  <Override PartName="/ppt/charts/chart12.xml" ContentType="application/vnd.openxmlformats-officedocument.drawingml.chart+xml"/>
  <Override PartName="/ppt/slideLayouts/slideLayout10.xml" ContentType="application/vnd.openxmlformats-officedocument.presentationml.slideLayout+xml"/>
  <Override PartName="/ppt/charts/chart6.xml" ContentType="application/vnd.openxmlformats-officedocument.drawingml.chart+xml"/>
  <Override PartName="/ppt/charts/chart10.xml" ContentType="application/vnd.openxmlformats-officedocument.drawingml.chart+xml"/>
  <Default Extension="gif" ContentType="image/gif"/>
  <Override PartName="/ppt/charts/chart4.xml" ContentType="application/vnd.openxmlformats-officedocument.drawingml.chart+xml"/>
  <Override PartName="/ppt/slides/slide8.xml" ContentType="application/vnd.openxmlformats-officedocument.presentationml.slide+xml"/>
  <Override PartName="/ppt/slides/slide49.xml" ContentType="application/vnd.openxmlformats-officedocument.presentationml.slide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drawings/drawing4.xml" ContentType="application/vnd.openxmlformats-officedocument.drawingml.chartshape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charts/chart19.xml" ContentType="application/vnd.openxmlformats-officedocument.drawingml.char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28" r:id="rId1"/>
  </p:sldMasterIdLst>
  <p:notesMasterIdLst>
    <p:notesMasterId r:id="rId51"/>
  </p:notesMasterIdLst>
  <p:sldIdLst>
    <p:sldId id="256" r:id="rId2"/>
    <p:sldId id="345" r:id="rId3"/>
    <p:sldId id="302" r:id="rId4"/>
    <p:sldId id="314" r:id="rId5"/>
    <p:sldId id="327" r:id="rId6"/>
    <p:sldId id="303" r:id="rId7"/>
    <p:sldId id="328" r:id="rId8"/>
    <p:sldId id="329" r:id="rId9"/>
    <p:sldId id="315" r:id="rId10"/>
    <p:sldId id="305" r:id="rId11"/>
    <p:sldId id="347" r:id="rId12"/>
    <p:sldId id="275" r:id="rId13"/>
    <p:sldId id="316" r:id="rId14"/>
    <p:sldId id="330" r:id="rId15"/>
    <p:sldId id="317" r:id="rId16"/>
    <p:sldId id="331" r:id="rId17"/>
    <p:sldId id="320" r:id="rId18"/>
    <p:sldId id="332" r:id="rId19"/>
    <p:sldId id="349" r:id="rId20"/>
    <p:sldId id="282" r:id="rId21"/>
    <p:sldId id="283" r:id="rId22"/>
    <p:sldId id="294" r:id="rId23"/>
    <p:sldId id="337" r:id="rId24"/>
    <p:sldId id="340" r:id="rId25"/>
    <p:sldId id="297" r:id="rId26"/>
    <p:sldId id="343" r:id="rId27"/>
    <p:sldId id="284" r:id="rId28"/>
    <p:sldId id="289" r:id="rId29"/>
    <p:sldId id="338" r:id="rId30"/>
    <p:sldId id="333" r:id="rId31"/>
    <p:sldId id="334" r:id="rId32"/>
    <p:sldId id="350" r:id="rId33"/>
    <p:sldId id="290" r:id="rId34"/>
    <p:sldId id="313" r:id="rId35"/>
    <p:sldId id="339" r:id="rId36"/>
    <p:sldId id="335" r:id="rId37"/>
    <p:sldId id="336" r:id="rId38"/>
    <p:sldId id="295" r:id="rId39"/>
    <p:sldId id="352" r:id="rId40"/>
    <p:sldId id="353" r:id="rId41"/>
    <p:sldId id="354" r:id="rId42"/>
    <p:sldId id="351" r:id="rId43"/>
    <p:sldId id="341" r:id="rId44"/>
    <p:sldId id="342" r:id="rId45"/>
    <p:sldId id="325" r:id="rId46"/>
    <p:sldId id="344" r:id="rId47"/>
    <p:sldId id="355" r:id="rId48"/>
    <p:sldId id="299" r:id="rId49"/>
    <p:sldId id="300" r:id="rId50"/>
  </p:sldIdLst>
  <p:sldSz cx="9144000" cy="6858000" type="screen4x3"/>
  <p:notesSz cx="6858000" cy="9144000"/>
  <p:defaultTextStyle>
    <a:defPPr>
      <a:defRPr lang="en-US"/>
    </a:defPPr>
    <a:lvl1pPr marL="0" algn="l" defTabSz="914400" rtl="0" latinLnBrk="0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latinLnBrk="0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latinLnBrk="0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latinLnBrk="0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latinLnBrk="0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latinLnBrk="0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latinLnBrk="0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latinLnBrk="0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latinLnBrk="0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CFF"/>
    <a:srgbClr val="FFFFCC"/>
    <a:srgbClr val="DDFCFF"/>
    <a:srgbClr val="CB0BC2"/>
    <a:srgbClr val="CCCC00"/>
    <a:srgbClr val="ECF1E1"/>
    <a:srgbClr val="66FFFF"/>
    <a:srgbClr val="EBFDFF"/>
    <a:srgbClr val="A4F5FE"/>
    <a:srgbClr val="CC9900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CAF9ED-07DC-4A11-8D7F-57B35C25682E}" styleName="Средний стиль 1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A107856-5554-42FB-B03E-39F5DBC370BA}" styleName="Средний стиль 4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505E3EF-67EA-436B-97B2-0124C06EBD24}" styleName="Средний стиль 4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C4B1156A-380E-4F78-BDF5-A606A8083BF9}" styleName="Средний стиль 4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16D9F66E-5EB9-4882-86FB-DCBF35E3C3E4}" styleName="Средний стиль 4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620"/>
    <p:restoredTop sz="94660"/>
  </p:normalViewPr>
  <p:slideViewPr>
    <p:cSldViewPr>
      <p:cViewPr>
        <p:scale>
          <a:sx n="100" d="100"/>
          <a:sy n="100" d="100"/>
        </p:scale>
        <p:origin x="-1932" y="-31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notesMaster" Target="notesMasters/notesMaster1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Office_Excel1.xlsx"/><Relationship Id="rId1" Type="http://schemas.openxmlformats.org/officeDocument/2006/relationships/image" Target="../media/image6.jpeg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_____Microsoft_Office_Excel10.xlsx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_____Microsoft_Office_Excel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4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5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6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7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8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9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Office_Excel2.xlsx"/><Relationship Id="rId1" Type="http://schemas.openxmlformats.org/officeDocument/2006/relationships/image" Target="../media/image7.jpeg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0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Office_Excel3.xlsx"/><Relationship Id="rId1" Type="http://schemas.openxmlformats.org/officeDocument/2006/relationships/image" Target="../media/image8.jpeg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Office_Excel4.xlsx"/><Relationship Id="rId1" Type="http://schemas.openxmlformats.org/officeDocument/2006/relationships/image" Target="../media/image10.jpeg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Office_Excel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7.xlsx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_____Microsoft_Office_Excel8.xlsx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_____Microsoft_Office_Excel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>
        <c:manualLayout>
          <c:layoutTarget val="inner"/>
          <c:xMode val="edge"/>
          <c:yMode val="edge"/>
          <c:x val="2.7777777777779136E-3"/>
          <c:y val="4.6296296296297387E-3"/>
          <c:w val="0.97696106736658783"/>
          <c:h val="0.83805555555556599"/>
        </c:manualLayout>
      </c:layout>
      <c:bar3DChart>
        <c:barDir val="col"/>
        <c:grouping val="stacked"/>
        <c:ser>
          <c:idx val="0"/>
          <c:order val="0"/>
          <c:spPr>
            <a:blipFill>
              <a:blip xmlns:r="http://schemas.openxmlformats.org/officeDocument/2006/relationships" r:embed="rId1"/>
              <a:tile tx="0" ty="0" sx="100000" sy="100000" flip="none" algn="tl"/>
            </a:blipFill>
          </c:spPr>
          <c:dLbls>
            <c:dLbl>
              <c:idx val="0"/>
              <c:layout>
                <c:manualLayout>
                  <c:x val="2.3634295713035998E-2"/>
                  <c:y val="-0.43503331314354937"/>
                </c:manualLayout>
              </c:layout>
              <c:showVal val="1"/>
            </c:dLbl>
            <c:dLbl>
              <c:idx val="1"/>
              <c:layout>
                <c:manualLayout>
                  <c:x val="2.0275007290755473E-2"/>
                  <c:y val="-0.3361260852008916"/>
                </c:manualLayout>
              </c:layout>
              <c:showVal val="1"/>
            </c:dLbl>
            <c:dLbl>
              <c:idx val="2"/>
              <c:layout>
                <c:manualLayout>
                  <c:x val="2.2446194225721881E-2"/>
                  <c:y val="-0.39520644054108622"/>
                </c:manualLayout>
              </c:layout>
              <c:showVal val="1"/>
            </c:dLbl>
            <c:dLbl>
              <c:idx val="3"/>
              <c:layout>
                <c:manualLayout>
                  <c:x val="2.1385334645669756E-2"/>
                  <c:y val="-0.37604648209297048"/>
                </c:manualLayout>
              </c:layout>
              <c:showVal val="1"/>
            </c:dLbl>
            <c:dLbl>
              <c:idx val="4"/>
              <c:layout>
                <c:manualLayout>
                  <c:x val="2.1446011109076787E-2"/>
                  <c:y val="-0.26592089781881523"/>
                </c:manualLayout>
              </c:layout>
              <c:showVal val="1"/>
            </c:dLbl>
            <c:txPr>
              <a:bodyPr/>
              <a:lstStyle/>
              <a:p>
                <a:pPr>
                  <a:defRPr sz="900" b="1">
                    <a:latin typeface="Batang" pitchFamily="18" charset="-127"/>
                    <a:ea typeface="Batang" pitchFamily="18" charset="-127"/>
                  </a:defRPr>
                </a:pPr>
                <a:endParaRPr lang="ru-RU"/>
              </a:p>
            </c:txPr>
            <c:showVal val="1"/>
          </c:dLbls>
          <c:cat>
            <c:strRef>
              <c:f>Лист1!$B$5:$D$5</c:f>
              <c:strCache>
                <c:ptCount val="3"/>
                <c:pt idx="0">
                  <c:v> Факт 2016 г. </c:v>
                </c:pt>
                <c:pt idx="1">
                  <c:v>План 2017 г. </c:v>
                </c:pt>
                <c:pt idx="2">
                  <c:v>Факт 2017 г. </c:v>
                </c:pt>
              </c:strCache>
            </c:strRef>
          </c:cat>
          <c:val>
            <c:numRef>
              <c:f>Лист1!$B$6:$D$6</c:f>
              <c:numCache>
                <c:formatCode>#,##0.0</c:formatCode>
                <c:ptCount val="3"/>
                <c:pt idx="0">
                  <c:v>5156.6000000000004</c:v>
                </c:pt>
                <c:pt idx="1">
                  <c:v>3525.1</c:v>
                </c:pt>
                <c:pt idx="2">
                  <c:v>4672.3</c:v>
                </c:pt>
              </c:numCache>
            </c:numRef>
          </c:val>
        </c:ser>
        <c:dLbls>
          <c:showVal val="1"/>
        </c:dLbls>
        <c:shape val="box"/>
        <c:axId val="209534976"/>
        <c:axId val="220073984"/>
        <c:axId val="0"/>
      </c:bar3DChart>
      <c:catAx>
        <c:axId val="209534976"/>
        <c:scaling>
          <c:orientation val="minMax"/>
        </c:scaling>
        <c:axPos val="b"/>
        <c:tickLblPos val="nextTo"/>
        <c:txPr>
          <a:bodyPr/>
          <a:lstStyle/>
          <a:p>
            <a:pPr>
              <a:defRPr baseline="0">
                <a:latin typeface="Times New Roman" pitchFamily="18" charset="0"/>
              </a:defRPr>
            </a:pPr>
            <a:endParaRPr lang="ru-RU"/>
          </a:p>
        </c:txPr>
        <c:crossAx val="220073984"/>
        <c:crosses val="autoZero"/>
        <c:auto val="1"/>
        <c:lblAlgn val="ctr"/>
        <c:lblOffset val="100"/>
      </c:catAx>
      <c:valAx>
        <c:axId val="220073984"/>
        <c:scaling>
          <c:orientation val="minMax"/>
        </c:scaling>
        <c:delete val="1"/>
        <c:axPos val="l"/>
        <c:numFmt formatCode="#,##0.0" sourceLinked="1"/>
        <c:tickLblPos val="none"/>
        <c:crossAx val="209534976"/>
        <c:crosses val="autoZero"/>
        <c:crossBetween val="between"/>
      </c:valAx>
    </c:plotArea>
    <c:plotVisOnly val="1"/>
    <c:dispBlanksAs val="gap"/>
  </c:chart>
  <c:externalData r:id="rId2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otX val="0"/>
      <c:rotY val="0"/>
      <c:depthPercent val="80"/>
      <c:rAngAx val="1"/>
    </c:view3D>
    <c:plotArea>
      <c:layout>
        <c:manualLayout>
          <c:layoutTarget val="inner"/>
          <c:xMode val="edge"/>
          <c:yMode val="edge"/>
          <c:x val="0.38802998629596269"/>
          <c:y val="6.8932291666666839E-2"/>
          <c:w val="0.49613083520809897"/>
          <c:h val="0.92842607174102831"/>
        </c:manualLayout>
      </c:layout>
      <c:bar3DChart>
        <c:barDir val="bar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6 год  </c:v>
                </c:pt>
              </c:strCache>
            </c:strRef>
          </c:tx>
          <c:spPr>
            <a:solidFill>
              <a:srgbClr val="66FFFF"/>
            </a:solidFill>
          </c:spPr>
          <c:dLbls>
            <c:dLbl>
              <c:idx val="0"/>
              <c:layout>
                <c:manualLayout>
                  <c:x val="1.3270004093525094E-2"/>
                  <c:y val="0"/>
                </c:manualLayout>
              </c:layout>
              <c:showVal val="1"/>
            </c:dLbl>
            <c:dLbl>
              <c:idx val="6"/>
              <c:layout>
                <c:manualLayout>
                  <c:x val="3.0581039755351682E-3"/>
                  <c:y val="1.3440860215053913E-2"/>
                </c:manualLayout>
              </c:layout>
              <c:showVal val="1"/>
            </c:dLbl>
            <c:dLbl>
              <c:idx val="7"/>
              <c:layout>
                <c:manualLayout>
                  <c:x val="0"/>
                  <c:y val="8.3333333333333228E-3"/>
                </c:manualLayout>
              </c:layout>
              <c:showVal val="1"/>
            </c:dLbl>
            <c:spPr>
              <a:noFill/>
              <a:ln>
                <a:noFill/>
              </a:ln>
            </c:spPr>
            <c:txPr>
              <a:bodyPr/>
              <a:lstStyle/>
              <a:p>
                <a:pPr>
                  <a:defRPr sz="1000" b="1">
                    <a:solidFill>
                      <a:schemeClr val="tx1"/>
                    </a:solidFill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10</c:f>
              <c:strCache>
                <c:ptCount val="9"/>
                <c:pt idx="0">
                  <c:v>Прочие налоговые и неналоговые доходы</c:v>
                </c:pt>
                <c:pt idx="1">
                  <c:v>Штрафы, санкции, возмещение ущерба</c:v>
                </c:pt>
                <c:pt idx="2">
                  <c:v>Доходы от продажи материальных и нематериальных активов</c:v>
                </c:pt>
                <c:pt idx="3">
                  <c:v>Доходы от оказания платных услуг и компесации затрат государства</c:v>
                </c:pt>
                <c:pt idx="4">
                  <c:v>Плата за негативное воздействие на окружающую среду</c:v>
                </c:pt>
                <c:pt idx="5">
                  <c:v>Доходы от использования  имущества, находящегося в муниципальной собственности</c:v>
                </c:pt>
                <c:pt idx="6">
                  <c:v>Государственная пошлина</c:v>
                </c:pt>
                <c:pt idx="7">
                  <c:v>Налог на совокупный доход</c:v>
                </c:pt>
                <c:pt idx="8">
                  <c:v>Налог на доходы физических лиц</c:v>
                </c:pt>
              </c:strCache>
            </c:strRef>
          </c:cat>
          <c:val>
            <c:numRef>
              <c:f>Лист1!$B$2:$B$10</c:f>
              <c:numCache>
                <c:formatCode>#,##0.0</c:formatCode>
                <c:ptCount val="9"/>
                <c:pt idx="0">
                  <c:v>113.4</c:v>
                </c:pt>
                <c:pt idx="1">
                  <c:v>6957.3</c:v>
                </c:pt>
                <c:pt idx="2">
                  <c:v>3409.4</c:v>
                </c:pt>
                <c:pt idx="3">
                  <c:v>44239.1</c:v>
                </c:pt>
                <c:pt idx="4">
                  <c:v>1410.3</c:v>
                </c:pt>
                <c:pt idx="5">
                  <c:v>8489.6</c:v>
                </c:pt>
                <c:pt idx="6">
                  <c:v>11895</c:v>
                </c:pt>
                <c:pt idx="7">
                  <c:v>42345.9</c:v>
                </c:pt>
                <c:pt idx="8">
                  <c:v>308323.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7 год </c:v>
                </c:pt>
              </c:strCache>
            </c:strRef>
          </c:tx>
          <c:dLbls>
            <c:dLbl>
              <c:idx val="0"/>
              <c:layout>
                <c:manualLayout>
                  <c:x val="1.0390537120359955E-2"/>
                  <c:y val="-7.5562429696288558E-3"/>
                </c:manualLayout>
              </c:layout>
              <c:showVal val="1"/>
            </c:dLbl>
            <c:dLbl>
              <c:idx val="1"/>
              <c:layout>
                <c:manualLayout>
                  <c:x val="2.6129546306711681E-5"/>
                  <c:y val="-1.3717894638170313E-2"/>
                </c:manualLayout>
              </c:layout>
              <c:showVal val="1"/>
            </c:dLbl>
            <c:dLbl>
              <c:idx val="2"/>
              <c:layout>
                <c:manualLayout>
                  <c:x val="4.4352268466442109E-3"/>
                  <c:y val="-3.8676415448068687E-3"/>
                </c:manualLayout>
              </c:layout>
              <c:showVal val="1"/>
            </c:dLbl>
            <c:dLbl>
              <c:idx val="3"/>
              <c:layout>
                <c:manualLayout>
                  <c:x val="1.5694131983502101E-3"/>
                  <c:y val="-1.061070491188602E-2"/>
                </c:manualLayout>
              </c:layout>
              <c:showVal val="1"/>
            </c:dLbl>
            <c:dLbl>
              <c:idx val="4"/>
              <c:layout>
                <c:manualLayout>
                  <c:x val="7.6000656167979005E-3"/>
                  <c:y val="-6.9014810648669134E-4"/>
                </c:manualLayout>
              </c:layout>
              <c:showVal val="1"/>
            </c:dLbl>
            <c:dLbl>
              <c:idx val="7"/>
              <c:layout>
                <c:manualLayout>
                  <c:x val="0"/>
                  <c:y val="-1.1111111111111125E-2"/>
                </c:manualLayout>
              </c:layout>
              <c:showVal val="1"/>
            </c:dLbl>
            <c:dLbl>
              <c:idx val="8"/>
              <c:layout>
                <c:manualLayout>
                  <c:x val="-1.5290519877675841E-3"/>
                  <c:y val="-8.3333333333333367E-3"/>
                </c:manualLayout>
              </c:layout>
              <c:showVal val="1"/>
            </c:dLbl>
            <c:spPr>
              <a:noFill/>
              <a:ln>
                <a:noFill/>
              </a:ln>
            </c:spPr>
            <c:txPr>
              <a:bodyPr/>
              <a:lstStyle/>
              <a:p>
                <a:pPr>
                  <a:defRPr sz="10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10</c:f>
              <c:strCache>
                <c:ptCount val="9"/>
                <c:pt idx="0">
                  <c:v>Прочие налоговые и неналоговые доходы</c:v>
                </c:pt>
                <c:pt idx="1">
                  <c:v>Штрафы, санкции, возмещение ущерба</c:v>
                </c:pt>
                <c:pt idx="2">
                  <c:v>Доходы от продажи материальных и нематериальных активов</c:v>
                </c:pt>
                <c:pt idx="3">
                  <c:v>Доходы от оказания платных услуг и компесации затрат государства</c:v>
                </c:pt>
                <c:pt idx="4">
                  <c:v>Плата за негативное воздействие на окружающую среду</c:v>
                </c:pt>
                <c:pt idx="5">
                  <c:v>Доходы от использования  имущества, находящегося в муниципальной собственности</c:v>
                </c:pt>
                <c:pt idx="6">
                  <c:v>Государственная пошлина</c:v>
                </c:pt>
                <c:pt idx="7">
                  <c:v>Налог на совокупный доход</c:v>
                </c:pt>
                <c:pt idx="8">
                  <c:v>Налог на доходы физических лиц</c:v>
                </c:pt>
              </c:strCache>
            </c:strRef>
          </c:cat>
          <c:val>
            <c:numRef>
              <c:f>Лист1!$C$2:$C$10</c:f>
              <c:numCache>
                <c:formatCode>#,##0.0</c:formatCode>
                <c:ptCount val="9"/>
                <c:pt idx="0">
                  <c:v>55.9</c:v>
                </c:pt>
                <c:pt idx="1">
                  <c:v>4992.6000000000004</c:v>
                </c:pt>
                <c:pt idx="2">
                  <c:v>4732.9000000000005</c:v>
                </c:pt>
                <c:pt idx="3">
                  <c:v>48231.6</c:v>
                </c:pt>
                <c:pt idx="4">
                  <c:v>1300.5</c:v>
                </c:pt>
                <c:pt idx="5">
                  <c:v>14037.8</c:v>
                </c:pt>
                <c:pt idx="6">
                  <c:v>9541.7999999999811</c:v>
                </c:pt>
                <c:pt idx="7">
                  <c:v>60278.6</c:v>
                </c:pt>
                <c:pt idx="8">
                  <c:v>342142</c:v>
                </c:pt>
              </c:numCache>
            </c:numRef>
          </c:val>
        </c:ser>
        <c:shape val="cylinder"/>
        <c:axId val="209499648"/>
        <c:axId val="209501184"/>
        <c:axId val="0"/>
      </c:bar3DChart>
      <c:catAx>
        <c:axId val="209499648"/>
        <c:scaling>
          <c:orientation val="minMax"/>
        </c:scaling>
        <c:axPos val="l"/>
        <c:tickLblPos val="nextTo"/>
        <c:txPr>
          <a:bodyPr rot="0" vert="horz" anchor="ctr" anchorCtr="0"/>
          <a:lstStyle/>
          <a:p>
            <a:pPr>
              <a:defRPr sz="1200" b="1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209501184"/>
        <c:crosses val="autoZero"/>
        <c:auto val="1"/>
        <c:lblAlgn val="ctr"/>
        <c:lblOffset val="100"/>
        <c:tickLblSkip val="1"/>
      </c:catAx>
      <c:valAx>
        <c:axId val="209501184"/>
        <c:scaling>
          <c:orientation val="minMax"/>
        </c:scaling>
        <c:axPos val="t"/>
        <c:majorGridlines/>
        <c:numFmt formatCode="#,##0" sourceLinked="0"/>
        <c:tickLblPos val="nextTo"/>
        <c:txPr>
          <a:bodyPr/>
          <a:lstStyle/>
          <a:p>
            <a:pPr>
              <a:defRPr sz="1000" i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209499648"/>
        <c:crosses val="max"/>
        <c:crossBetween val="between"/>
        <c:majorUnit val="50000"/>
      </c:valAx>
    </c:plotArea>
    <c:legend>
      <c:legendPos val="r"/>
      <c:layout>
        <c:manualLayout>
          <c:xMode val="edge"/>
          <c:yMode val="edge"/>
          <c:x val="0.80765597534253175"/>
          <c:y val="0.63339085739283185"/>
          <c:w val="0.18316971273086291"/>
          <c:h val="9.9884951881014872E-2"/>
        </c:manualLayout>
      </c:layout>
      <c:txPr>
        <a:bodyPr/>
        <a:lstStyle/>
        <a:p>
          <a:pPr>
            <a:defRPr sz="1000" b="1"/>
          </a:pPr>
          <a:endParaRPr lang="ru-RU"/>
        </a:p>
      </c:txPr>
    </c:legend>
    <c:plotVisOnly val="1"/>
  </c:chart>
  <c:spPr>
    <a:ln w="12700"/>
  </c:spPr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otX val="0"/>
      <c:rotY val="0"/>
      <c:depthPercent val="80"/>
      <c:rAngAx val="1"/>
    </c:view3D>
    <c:plotArea>
      <c:layout>
        <c:manualLayout>
          <c:layoutTarget val="inner"/>
          <c:xMode val="edge"/>
          <c:yMode val="edge"/>
          <c:x val="1.6224188790560787E-2"/>
          <c:y val="2.4774774774774896E-2"/>
          <c:w val="0.82074038571265073"/>
          <c:h val="0.82937314085739156"/>
        </c:manualLayout>
      </c:layout>
      <c:bar3DChart>
        <c:barDir val="bar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6 год </c:v>
                </c:pt>
              </c:strCache>
            </c:strRef>
          </c:tx>
          <c:spPr>
            <a:solidFill>
              <a:srgbClr val="FFC000"/>
            </a:solidFill>
          </c:spPr>
          <c:dLbls>
            <c:dLbl>
              <c:idx val="0"/>
              <c:layout>
                <c:manualLayout>
                  <c:x val="-7.4171174255391992E-2"/>
                  <c:y val="-8.3197866395734298E-3"/>
                </c:manualLayout>
              </c:layout>
              <c:showVal val="1"/>
            </c:dLbl>
            <c:dLbl>
              <c:idx val="1"/>
              <c:layout>
                <c:manualLayout>
                  <c:x val="1.3098669869656122E-2"/>
                  <c:y val="1.9011373578302721E-3"/>
                </c:manualLayout>
              </c:layout>
              <c:showVal val="1"/>
            </c:dLbl>
            <c:spPr>
              <a:noFill/>
              <a:ln>
                <a:noFill/>
              </a:ln>
            </c:spPr>
            <c:txPr>
              <a:bodyPr/>
              <a:lstStyle/>
              <a:p>
                <a:pPr>
                  <a:defRPr sz="9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7</c:f>
              <c:strCache>
                <c:ptCount val="6"/>
                <c:pt idx="0">
                  <c:v>Возврат остатков субсидий, субвенций и иных межбюджетных трансфертов, имеющих целевое назначение, прошлых лет</c:v>
                </c:pt>
                <c:pt idx="1">
                  <c:v>Прочие безвозмездные поступления</c:v>
                </c:pt>
                <c:pt idx="2">
                  <c:v>Иные межбюджетные трансферты </c:v>
                </c:pt>
                <c:pt idx="3">
                  <c:v>Дотация на поддержку мер по обеспечению сбалансированности бюджетов</c:v>
                </c:pt>
                <c:pt idx="4">
                  <c:v>Субсидии</c:v>
                </c:pt>
                <c:pt idx="5">
                  <c:v>Субвенции</c:v>
                </c:pt>
              </c:strCache>
            </c:strRef>
          </c:cat>
          <c:val>
            <c:numRef>
              <c:f>Лист1!$B$2:$B$7</c:f>
              <c:numCache>
                <c:formatCode>#,##0.0</c:formatCode>
                <c:ptCount val="6"/>
                <c:pt idx="0">
                  <c:v>-1254.4000000000001</c:v>
                </c:pt>
                <c:pt idx="1">
                  <c:v>1780.1</c:v>
                </c:pt>
                <c:pt idx="2">
                  <c:v>10533.3</c:v>
                </c:pt>
                <c:pt idx="3">
                  <c:v>10823.6</c:v>
                </c:pt>
                <c:pt idx="4">
                  <c:v>178331.3</c:v>
                </c:pt>
                <c:pt idx="5">
                  <c:v>961693.2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7 год</c:v>
                </c:pt>
              </c:strCache>
            </c:strRef>
          </c:tx>
          <c:spPr>
            <a:solidFill>
              <a:srgbClr val="00B0F0"/>
            </a:solidFill>
          </c:spPr>
          <c:dLbls>
            <c:dLbl>
              <c:idx val="0"/>
              <c:layout>
                <c:manualLayout>
                  <c:x val="-7.7130206550268199E-2"/>
                  <c:y val="-2.0301202269071419E-2"/>
                </c:manualLayout>
              </c:layout>
              <c:showVal val="1"/>
            </c:dLbl>
            <c:dLbl>
              <c:idx val="1"/>
              <c:layout>
                <c:manualLayout>
                  <c:x val="8.4579481912587066E-3"/>
                  <c:y val="-1.0212937092540852E-2"/>
                </c:manualLayout>
              </c:layout>
              <c:showVal val="1"/>
            </c:dLbl>
            <c:dLbl>
              <c:idx val="2"/>
              <c:layout>
                <c:manualLayout>
                  <c:x val="3.5887253223782492E-3"/>
                  <c:y val="-1.0752899839133061E-2"/>
                </c:manualLayout>
              </c:layout>
              <c:showVal val="1"/>
            </c:dLbl>
            <c:dLbl>
              <c:idx val="3"/>
              <c:layout>
                <c:manualLayout>
                  <c:x val="1.2146296930275058E-2"/>
                  <c:y val="-1.3440860215053913E-2"/>
                </c:manualLayout>
              </c:layout>
              <c:showVal val="1"/>
            </c:dLbl>
            <c:dLbl>
              <c:idx val="4"/>
              <c:layout>
                <c:manualLayout>
                  <c:x val="8.9716991897752681E-3"/>
                  <c:y val="0"/>
                </c:manualLayout>
              </c:layout>
              <c:showVal val="1"/>
            </c:dLbl>
            <c:spPr>
              <a:noFill/>
              <a:ln>
                <a:noFill/>
              </a:ln>
            </c:spPr>
            <c:txPr>
              <a:bodyPr/>
              <a:lstStyle/>
              <a:p>
                <a:pPr>
                  <a:defRPr sz="1000" b="1" i="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7</c:f>
              <c:strCache>
                <c:ptCount val="6"/>
                <c:pt idx="0">
                  <c:v>Возврат остатков субсидий, субвенций и иных межбюджетных трансфертов, имеющих целевое назначение, прошлых лет</c:v>
                </c:pt>
                <c:pt idx="1">
                  <c:v>Прочие безвозмездные поступления</c:v>
                </c:pt>
                <c:pt idx="2">
                  <c:v>Иные межбюджетные трансферты </c:v>
                </c:pt>
                <c:pt idx="3">
                  <c:v>Дотация на поддержку мер по обеспечению сбалансированности бюджетов</c:v>
                </c:pt>
                <c:pt idx="4">
                  <c:v>Субсидии</c:v>
                </c:pt>
                <c:pt idx="5">
                  <c:v>Субвенции</c:v>
                </c:pt>
              </c:strCache>
            </c:strRef>
          </c:cat>
          <c:val>
            <c:numRef>
              <c:f>Лист1!$C$2:$C$7</c:f>
              <c:numCache>
                <c:formatCode>#,##0.0</c:formatCode>
                <c:ptCount val="6"/>
                <c:pt idx="0">
                  <c:v>-3108.4</c:v>
                </c:pt>
                <c:pt idx="1">
                  <c:v>3671.2</c:v>
                </c:pt>
                <c:pt idx="2">
                  <c:v>11015</c:v>
                </c:pt>
                <c:pt idx="3">
                  <c:v>56807.6</c:v>
                </c:pt>
                <c:pt idx="4">
                  <c:v>276735.5</c:v>
                </c:pt>
                <c:pt idx="5">
                  <c:v>991384.7</c:v>
                </c:pt>
              </c:numCache>
            </c:numRef>
          </c:val>
        </c:ser>
        <c:shape val="cylinder"/>
        <c:axId val="215841408"/>
        <c:axId val="215863680"/>
        <c:axId val="0"/>
      </c:bar3DChart>
      <c:catAx>
        <c:axId val="215841408"/>
        <c:scaling>
          <c:orientation val="minMax"/>
        </c:scaling>
        <c:axPos val="l"/>
        <c:numFmt formatCode="#,##0.00" sourceLinked="0"/>
        <c:tickLblPos val="nextTo"/>
        <c:txPr>
          <a:bodyPr anchor="ctr" anchorCtr="1"/>
          <a:lstStyle/>
          <a:p>
            <a:pPr>
              <a:defRPr sz="1200" b="1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215863680"/>
        <c:crosses val="autoZero"/>
        <c:auto val="1"/>
        <c:lblAlgn val="ctr"/>
        <c:lblOffset val="100"/>
      </c:catAx>
      <c:valAx>
        <c:axId val="215863680"/>
        <c:scaling>
          <c:orientation val="minMax"/>
        </c:scaling>
        <c:axPos val="t"/>
        <c:majorGridlines/>
        <c:numFmt formatCode="#,##0" sourceLinked="0"/>
        <c:tickLblPos val="nextTo"/>
        <c:txPr>
          <a:bodyPr/>
          <a:lstStyle/>
          <a:p>
            <a:pPr>
              <a:defRPr sz="1000"/>
            </a:pPr>
            <a:endParaRPr lang="ru-RU"/>
          </a:p>
        </c:txPr>
        <c:crossAx val="215841408"/>
        <c:crosses val="max"/>
        <c:crossBetween val="between"/>
      </c:valAx>
    </c:plotArea>
    <c:legend>
      <c:legendPos val="b"/>
      <c:layout>
        <c:manualLayout>
          <c:xMode val="edge"/>
          <c:yMode val="edge"/>
          <c:x val="0.32897021567956597"/>
          <c:y val="0.88705269152676658"/>
          <c:w val="0.37357183612917982"/>
          <c:h val="5.5742088842668534E-2"/>
        </c:manualLayout>
      </c:layout>
      <c:txPr>
        <a:bodyPr/>
        <a:lstStyle/>
        <a:p>
          <a:pPr>
            <a:defRPr sz="1000" b="1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depthPercent val="80"/>
      <c:rAngAx val="1"/>
    </c:view3D>
    <c:sideWall>
      <c:spPr>
        <a:noFill/>
        <a:ln w="3175">
          <a:solidFill>
            <a:srgbClr val="E1DFD3"/>
          </a:solidFill>
        </a:ln>
        <a:scene3d>
          <a:camera prst="orthographicFront"/>
          <a:lightRig rig="threePt" dir="t"/>
        </a:scene3d>
        <a:sp3d>
          <a:bevelT/>
        </a:sp3d>
      </c:spPr>
    </c:sideWall>
    <c:backWall>
      <c:spPr>
        <a:noFill/>
        <a:ln w="25400">
          <a:noFill/>
        </a:ln>
        <a:scene3d>
          <a:camera prst="orthographicFront"/>
          <a:lightRig rig="threePt" dir="t"/>
        </a:scene3d>
        <a:sp3d>
          <a:bevelT/>
        </a:sp3d>
      </c:spPr>
    </c:backWall>
    <c:plotArea>
      <c:layout>
        <c:manualLayout>
          <c:layoutTarget val="inner"/>
          <c:xMode val="edge"/>
          <c:yMode val="edge"/>
          <c:x val="0.17878536016331428"/>
          <c:y val="3.4430383668794216E-2"/>
          <c:w val="0.77309797340906772"/>
          <c:h val="0.92860304099918922"/>
        </c:manualLayout>
      </c:layout>
      <c:bar3DChart>
        <c:barDir val="bar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Факт 1 738 289,6 тыс. рублей</c:v>
                </c:pt>
              </c:strCache>
            </c:strRef>
          </c:tx>
          <c:spPr>
            <a:solidFill>
              <a:srgbClr val="7030A0"/>
            </a:solidFill>
          </c:spPr>
          <c:dLbls>
            <c:dLbl>
              <c:idx val="0"/>
              <c:layout>
                <c:manualLayout>
                  <c:x val="1.5306921094322724E-2"/>
                  <c:y val="-2.1957853094450152E-3"/>
                </c:manualLayout>
              </c:layout>
              <c:tx>
                <c:rich>
                  <a:bodyPr/>
                  <a:lstStyle/>
                  <a:p>
                    <a:r>
                      <a:rPr lang="ru-RU" b="1" dirty="0" smtClean="0">
                        <a:latin typeface="Times New Roman" pitchFamily="18" charset="0"/>
                        <a:cs typeface="Times New Roman" pitchFamily="18" charset="0"/>
                      </a:rPr>
                      <a:t>121,6</a:t>
                    </a:r>
                    <a:endParaRPr lang="en-US" b="1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2.4209879170509305E-2"/>
                  <c:y val="3.9240747080528304E-3"/>
                </c:manualLayout>
              </c:layout>
              <c:showVal val="1"/>
            </c:dLbl>
            <c:dLbl>
              <c:idx val="2"/>
              <c:layout>
                <c:manualLayout>
                  <c:x val="1.2554207751058172E-2"/>
                  <c:y val="7.2461866179771104E-3"/>
                </c:manualLayout>
              </c:layout>
              <c:showVal val="1"/>
            </c:dLbl>
            <c:dLbl>
              <c:idx val="3"/>
              <c:layout>
                <c:manualLayout>
                  <c:x val="9.5929393960891354E-3"/>
                  <c:y val="1.2077294685990338E-2"/>
                </c:manualLayout>
              </c:layout>
              <c:showVal val="1"/>
            </c:dLbl>
            <c:dLbl>
              <c:idx val="4"/>
              <c:layout>
                <c:manualLayout>
                  <c:x val="9.3843843843844227E-3"/>
                  <c:y val="4.830917874396135E-3"/>
                </c:manualLayout>
              </c:layout>
              <c:showVal val="1"/>
            </c:dLbl>
            <c:dLbl>
              <c:idx val="7"/>
              <c:layout>
                <c:manualLayout>
                  <c:x val="2.2522522522522542E-2"/>
                  <c:y val="-2.7777777777778043E-3"/>
                </c:manualLayout>
              </c:layout>
              <c:showVal val="1"/>
            </c:dLbl>
            <c:spPr>
              <a:noFill/>
            </c:spPr>
            <c:txPr>
              <a:bodyPr/>
              <a:lstStyle/>
              <a:p>
                <a:pPr>
                  <a:defRPr sz="10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10</c:f>
              <c:strCache>
                <c:ptCount val="9"/>
                <c:pt idx="0">
                  <c:v>Физическая культура и спорт</c:v>
                </c:pt>
                <c:pt idx="1">
                  <c:v>Обслуживание муниципального долга</c:v>
                </c:pt>
                <c:pt idx="2">
                  <c:v>Национальная безопасность и правоохранительная деятельность</c:v>
                </c:pt>
                <c:pt idx="3">
                  <c:v>Национальная экономика</c:v>
                </c:pt>
                <c:pt idx="4">
                  <c:v>Межбюджетные трансферты общего характера</c:v>
                </c:pt>
                <c:pt idx="5">
                  <c:v>Культура, кинематография</c:v>
                </c:pt>
                <c:pt idx="6">
                  <c:v>Социальная политика</c:v>
                </c:pt>
                <c:pt idx="7">
                  <c:v>Общегосударственные вопросы</c:v>
                </c:pt>
                <c:pt idx="8">
                  <c:v>Образование</c:v>
                </c:pt>
              </c:strCache>
            </c:strRef>
          </c:cat>
          <c:val>
            <c:numRef>
              <c:f>Лист1!$B$2:$B$10</c:f>
              <c:numCache>
                <c:formatCode>#,##0.0</c:formatCode>
                <c:ptCount val="9"/>
                <c:pt idx="0">
                  <c:v>121.6</c:v>
                </c:pt>
                <c:pt idx="1">
                  <c:v>507.5</c:v>
                </c:pt>
                <c:pt idx="2">
                  <c:v>3785.8</c:v>
                </c:pt>
                <c:pt idx="3">
                  <c:v>8725.5</c:v>
                </c:pt>
                <c:pt idx="4">
                  <c:v>126597.6</c:v>
                </c:pt>
                <c:pt idx="5">
                  <c:v>49296.2</c:v>
                </c:pt>
                <c:pt idx="6">
                  <c:v>100276.8</c:v>
                </c:pt>
                <c:pt idx="7">
                  <c:v>108870.2</c:v>
                </c:pt>
                <c:pt idx="8">
                  <c:v>1340108.4000000004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лан 1 836 483,9 тыс. рублей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</c:spPr>
          <c:dLbls>
            <c:dLbl>
              <c:idx val="0"/>
              <c:layout>
                <c:manualLayout>
                  <c:x val="1.4761296729800659E-2"/>
                  <c:y val="-6.9719274221157687E-3"/>
                </c:manualLayout>
              </c:layout>
              <c:showVal val="1"/>
            </c:dLbl>
            <c:dLbl>
              <c:idx val="1"/>
              <c:layout>
                <c:manualLayout>
                  <c:x val="1.1758293726797688E-2"/>
                  <c:y val="-1.976492068926184E-3"/>
                </c:manualLayout>
              </c:layout>
              <c:showVal val="1"/>
            </c:dLbl>
            <c:dLbl>
              <c:idx val="2"/>
              <c:layout>
                <c:manualLayout>
                  <c:x val="1.2929583126433521E-2"/>
                  <c:y val="0"/>
                </c:manualLayout>
              </c:layout>
              <c:showVal val="1"/>
            </c:dLbl>
            <c:dLbl>
              <c:idx val="3"/>
              <c:layout>
                <c:manualLayout>
                  <c:x val="8.4668132699628768E-3"/>
                  <c:y val="4.8307276807790789E-3"/>
                </c:manualLayout>
              </c:layout>
              <c:showVal val="1"/>
            </c:dLbl>
            <c:dLbl>
              <c:idx val="4"/>
              <c:layout>
                <c:manualLayout>
                  <c:x val="1.0010049419498217E-2"/>
                  <c:y val="-4.8309178743961793E-3"/>
                </c:manualLayout>
              </c:layout>
              <c:showVal val="1"/>
            </c:dLbl>
            <c:dLbl>
              <c:idx val="7"/>
              <c:layout>
                <c:manualLayout>
                  <c:x val="1.9519519519519593E-2"/>
                  <c:y val="-1.0990594925634299E-2"/>
                </c:manualLayout>
              </c:layout>
              <c:showVal val="1"/>
            </c:dLbl>
            <c:dLbl>
              <c:idx val="8"/>
              <c:layout>
                <c:manualLayout>
                  <c:x val="1.6516516516516522E-2"/>
                  <c:y val="-1.4492753623188411E-2"/>
                </c:manualLayout>
              </c:layout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1000" b="1">
                      <a:latin typeface="Times New Roman" pitchFamily="18" charset="0"/>
                      <a:cs typeface="Times New Roman" pitchFamily="18" charset="0"/>
                    </a:defRPr>
                  </a:pPr>
                  <a:endParaRPr lang="ru-RU"/>
                </a:p>
              </c:txPr>
              <c:showVal val="1"/>
            </c:dLbl>
            <c:spPr>
              <a:noFill/>
            </c:spPr>
            <c:txPr>
              <a:bodyPr/>
              <a:lstStyle/>
              <a:p>
                <a:pPr>
                  <a:defRPr sz="10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10</c:f>
              <c:strCache>
                <c:ptCount val="9"/>
                <c:pt idx="0">
                  <c:v>Физическая культура и спорт</c:v>
                </c:pt>
                <c:pt idx="1">
                  <c:v>Обслуживание муниципального долга</c:v>
                </c:pt>
                <c:pt idx="2">
                  <c:v>Национальная безопасность и правоохранительная деятельность</c:v>
                </c:pt>
                <c:pt idx="3">
                  <c:v>Национальная экономика</c:v>
                </c:pt>
                <c:pt idx="4">
                  <c:v>Межбюджетные трансферты общего характера</c:v>
                </c:pt>
                <c:pt idx="5">
                  <c:v>Культура, кинематография</c:v>
                </c:pt>
                <c:pt idx="6">
                  <c:v>Социальная политика</c:v>
                </c:pt>
                <c:pt idx="7">
                  <c:v>Общегосударственные вопросы</c:v>
                </c:pt>
                <c:pt idx="8">
                  <c:v>Образование</c:v>
                </c:pt>
              </c:strCache>
            </c:strRef>
          </c:cat>
          <c:val>
            <c:numRef>
              <c:f>Лист1!$C$2:$C$10</c:f>
              <c:numCache>
                <c:formatCode>#,##0.0</c:formatCode>
                <c:ptCount val="9"/>
                <c:pt idx="0">
                  <c:v>121.6</c:v>
                </c:pt>
                <c:pt idx="1">
                  <c:v>5023.9000000000005</c:v>
                </c:pt>
                <c:pt idx="2">
                  <c:v>5200.5</c:v>
                </c:pt>
                <c:pt idx="3">
                  <c:v>9383.6</c:v>
                </c:pt>
                <c:pt idx="4">
                  <c:v>126597.6</c:v>
                </c:pt>
                <c:pt idx="5">
                  <c:v>50521.5</c:v>
                </c:pt>
                <c:pt idx="6">
                  <c:v>106267.1</c:v>
                </c:pt>
                <c:pt idx="7">
                  <c:v>116759.4</c:v>
                </c:pt>
                <c:pt idx="8">
                  <c:v>1416608.7</c:v>
                </c:pt>
              </c:numCache>
            </c:numRef>
          </c:val>
        </c:ser>
        <c:shape val="cylinder"/>
        <c:axId val="216035712"/>
        <c:axId val="216037248"/>
        <c:axId val="0"/>
      </c:bar3DChart>
      <c:catAx>
        <c:axId val="216035712"/>
        <c:scaling>
          <c:orientation val="minMax"/>
        </c:scaling>
        <c:axPos val="l"/>
        <c:tickLblPos val="nextTo"/>
        <c:txPr>
          <a:bodyPr/>
          <a:lstStyle/>
          <a:p>
            <a:pPr>
              <a:defRPr sz="1200" b="1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216037248"/>
        <c:crosses val="autoZero"/>
        <c:auto val="1"/>
        <c:lblAlgn val="ctr"/>
        <c:lblOffset val="100"/>
      </c:catAx>
      <c:valAx>
        <c:axId val="216037248"/>
        <c:scaling>
          <c:orientation val="minMax"/>
          <c:max val="1600000"/>
        </c:scaling>
        <c:axPos val="t"/>
        <c:majorGridlines/>
        <c:numFmt formatCode="#,##0" sourceLinked="0"/>
        <c:tickLblPos val="nextTo"/>
        <c:txPr>
          <a:bodyPr/>
          <a:lstStyle/>
          <a:p>
            <a:pPr>
              <a:defRPr sz="1000" i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216035712"/>
        <c:crosses val="max"/>
        <c:crossBetween val="between"/>
      </c:valAx>
      <c:spPr>
        <a:solidFill>
          <a:schemeClr val="bg2"/>
        </a:solidFill>
        <a:ln w="25400">
          <a:noFill/>
        </a:ln>
      </c:spPr>
    </c:plotArea>
    <c:legend>
      <c:legendPos val="r"/>
      <c:layout>
        <c:manualLayout>
          <c:xMode val="edge"/>
          <c:yMode val="edge"/>
          <c:x val="0.791532240902313"/>
          <c:y val="0.44405489184541796"/>
          <c:w val="0.19945875008867134"/>
          <c:h val="0.22970630826319141"/>
        </c:manualLayout>
      </c:layout>
      <c:txPr>
        <a:bodyPr/>
        <a:lstStyle/>
        <a:p>
          <a:pPr>
            <a:defRPr sz="1200" b="1" baseline="0"/>
          </a:pPr>
          <a:endParaRPr lang="ru-RU"/>
        </a:p>
      </c:txPr>
    </c:legend>
    <c:plotVisOnly val="1"/>
  </c:chart>
  <c:spPr>
    <a:ln>
      <a:solidFill>
        <a:schemeClr val="accent1"/>
      </a:solidFill>
    </a:ln>
  </c:spPr>
  <c:txPr>
    <a:bodyPr/>
    <a:lstStyle/>
    <a:p>
      <a:pPr>
        <a:defRPr sz="1800"/>
      </a:pPr>
      <a:endParaRPr lang="ru-RU"/>
    </a:p>
  </c:txPr>
  <c:externalData r:id="rId1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depthPercent val="80"/>
      <c:rAngAx val="1"/>
    </c:view3D>
    <c:sideWall>
      <c:spPr>
        <a:noFill/>
        <a:ln w="3175">
          <a:solidFill>
            <a:srgbClr val="E1DFD3"/>
          </a:solidFill>
        </a:ln>
        <a:scene3d>
          <a:camera prst="orthographicFront"/>
          <a:lightRig rig="threePt" dir="t"/>
        </a:scene3d>
        <a:sp3d>
          <a:bevelT/>
        </a:sp3d>
      </c:spPr>
    </c:sideWall>
    <c:backWall>
      <c:spPr>
        <a:noFill/>
        <a:ln w="25400">
          <a:noFill/>
        </a:ln>
        <a:scene3d>
          <a:camera prst="orthographicFront"/>
          <a:lightRig rig="threePt" dir="t"/>
        </a:scene3d>
        <a:sp3d>
          <a:bevelT/>
        </a:sp3d>
      </c:spPr>
    </c:backWall>
    <c:plotArea>
      <c:layout>
        <c:manualLayout>
          <c:layoutTarget val="inner"/>
          <c:xMode val="edge"/>
          <c:yMode val="edge"/>
          <c:x val="0.17878536016331434"/>
          <c:y val="3.4430383668794216E-2"/>
          <c:w val="0.77309797340906794"/>
          <c:h val="0.92860304099918944"/>
        </c:manualLayout>
      </c:layout>
      <c:bar3DChart>
        <c:barDir val="bar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6 год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</c:spPr>
          <c:dLbls>
            <c:dLbl>
              <c:idx val="0"/>
              <c:layout>
                <c:manualLayout>
                  <c:x val="1.530692109432273E-2"/>
                  <c:y val="-2.1957853094450152E-3"/>
                </c:manualLayout>
              </c:layout>
              <c:tx>
                <c:rich>
                  <a:bodyPr/>
                  <a:lstStyle/>
                  <a:p>
                    <a:r>
                      <a:rPr lang="ru-RU" b="1" dirty="0" smtClean="0">
                        <a:latin typeface="Times New Roman" pitchFamily="18" charset="0"/>
                        <a:cs typeface="Times New Roman" pitchFamily="18" charset="0"/>
                      </a:rPr>
                      <a:t>115,2</a:t>
                    </a:r>
                    <a:endParaRPr lang="en-US" b="1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1.2197867158497135E-2"/>
                  <c:y val="1.1463254593176901E-3"/>
                </c:manualLayout>
              </c:layout>
              <c:showVal val="1"/>
            </c:dLbl>
            <c:dLbl>
              <c:idx val="2"/>
              <c:layout>
                <c:manualLayout>
                  <c:x val="1.2554207751058172E-2"/>
                  <c:y val="7.2461866179771104E-3"/>
                </c:manualLayout>
              </c:layout>
              <c:showVal val="1"/>
            </c:dLbl>
            <c:dLbl>
              <c:idx val="3"/>
              <c:layout>
                <c:manualLayout>
                  <c:x val="9.5929393960891441E-3"/>
                  <c:y val="1.2077294685990338E-2"/>
                </c:manualLayout>
              </c:layout>
              <c:showVal val="1"/>
            </c:dLbl>
            <c:dLbl>
              <c:idx val="4"/>
              <c:layout>
                <c:manualLayout>
                  <c:x val="9.3843843843844227E-3"/>
                  <c:y val="4.830917874396135E-3"/>
                </c:manualLayout>
              </c:layout>
              <c:showVal val="1"/>
            </c:dLbl>
            <c:dLbl>
              <c:idx val="7"/>
              <c:layout>
                <c:manualLayout>
                  <c:x val="2.2522522522522542E-2"/>
                  <c:y val="-2.7777777777778065E-3"/>
                </c:manualLayout>
              </c:layout>
              <c:showVal val="1"/>
            </c:dLbl>
            <c:spPr>
              <a:noFill/>
            </c:spPr>
            <c:txPr>
              <a:bodyPr/>
              <a:lstStyle/>
              <a:p>
                <a:pPr>
                  <a:defRPr sz="10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10</c:f>
              <c:strCache>
                <c:ptCount val="9"/>
                <c:pt idx="0">
                  <c:v>Физическая культура и спорт</c:v>
                </c:pt>
                <c:pt idx="1">
                  <c:v>Обслуживание муниципального долга</c:v>
                </c:pt>
                <c:pt idx="2">
                  <c:v>Национальная безопасность и правоохранительная деятельность</c:v>
                </c:pt>
                <c:pt idx="3">
                  <c:v>Национальная экономика</c:v>
                </c:pt>
                <c:pt idx="4">
                  <c:v>Межбюджетные трансферты общего характера</c:v>
                </c:pt>
                <c:pt idx="5">
                  <c:v>Культура, кинематография</c:v>
                </c:pt>
                <c:pt idx="6">
                  <c:v>Социальная политика</c:v>
                </c:pt>
                <c:pt idx="7">
                  <c:v>Общегосударственные вопросы</c:v>
                </c:pt>
                <c:pt idx="8">
                  <c:v>Образование</c:v>
                </c:pt>
              </c:strCache>
            </c:strRef>
          </c:cat>
          <c:val>
            <c:numRef>
              <c:f>Лист1!$B$2:$B$10</c:f>
              <c:numCache>
                <c:formatCode>#,##0.0</c:formatCode>
                <c:ptCount val="9"/>
                <c:pt idx="0">
                  <c:v>115.2</c:v>
                </c:pt>
                <c:pt idx="1">
                  <c:v>502.9</c:v>
                </c:pt>
                <c:pt idx="2">
                  <c:v>2882.4</c:v>
                </c:pt>
                <c:pt idx="3">
                  <c:v>9751</c:v>
                </c:pt>
                <c:pt idx="4">
                  <c:v>26725.7</c:v>
                </c:pt>
                <c:pt idx="5">
                  <c:v>45034</c:v>
                </c:pt>
                <c:pt idx="6">
                  <c:v>96736.8</c:v>
                </c:pt>
                <c:pt idx="7">
                  <c:v>116223.4</c:v>
                </c:pt>
                <c:pt idx="8">
                  <c:v>1285475.9000000004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7 год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  <a:ln>
              <a:noFill/>
            </a:ln>
          </c:spPr>
          <c:dLbls>
            <c:dLbl>
              <c:idx val="0"/>
              <c:layout>
                <c:manualLayout>
                  <c:x val="1.4761296729800659E-2"/>
                  <c:y val="-6.9719274221157731E-3"/>
                </c:manualLayout>
              </c:layout>
              <c:showVal val="1"/>
            </c:dLbl>
            <c:dLbl>
              <c:idx val="1"/>
              <c:layout>
                <c:manualLayout>
                  <c:x val="1.1758293726797688E-2"/>
                  <c:y val="-1.9764920689261849E-3"/>
                </c:manualLayout>
              </c:layout>
              <c:showVal val="1"/>
            </c:dLbl>
            <c:dLbl>
              <c:idx val="2"/>
              <c:layout>
                <c:manualLayout>
                  <c:x val="1.2929583126433521E-2"/>
                  <c:y val="0"/>
                </c:manualLayout>
              </c:layout>
              <c:showVal val="1"/>
            </c:dLbl>
            <c:dLbl>
              <c:idx val="3"/>
              <c:layout>
                <c:manualLayout>
                  <c:x val="8.4668132699628768E-3"/>
                  <c:y val="4.8307276807790824E-3"/>
                </c:manualLayout>
              </c:layout>
              <c:showVal val="1"/>
            </c:dLbl>
            <c:dLbl>
              <c:idx val="4"/>
              <c:layout>
                <c:manualLayout>
                  <c:x val="1.0010049419498217E-2"/>
                  <c:y val="-4.8309178743961793E-3"/>
                </c:manualLayout>
              </c:layout>
              <c:showVal val="1"/>
            </c:dLbl>
            <c:dLbl>
              <c:idx val="7"/>
              <c:layout>
                <c:manualLayout>
                  <c:x val="1.95195195195196E-2"/>
                  <c:y val="-1.0990594925634299E-2"/>
                </c:manualLayout>
              </c:layout>
              <c:showVal val="1"/>
            </c:dLbl>
            <c:dLbl>
              <c:idx val="8"/>
              <c:layout>
                <c:manualLayout>
                  <c:x val="1.6516516516516522E-2"/>
                  <c:y val="-1.4492753623188411E-2"/>
                </c:manualLayout>
              </c:layout>
              <c:spPr>
                <a:noFill/>
                <a:ln>
                  <a:noFill/>
                </a:ln>
              </c:spPr>
              <c:txPr>
                <a:bodyPr/>
                <a:lstStyle/>
                <a:p>
                  <a:pPr>
                    <a:defRPr sz="1000" b="1">
                      <a:latin typeface="Times New Roman" pitchFamily="18" charset="0"/>
                      <a:cs typeface="Times New Roman" pitchFamily="18" charset="0"/>
                    </a:defRPr>
                  </a:pPr>
                  <a:endParaRPr lang="ru-RU"/>
                </a:p>
              </c:txPr>
              <c:showVal val="1"/>
            </c:dLbl>
            <c:spPr>
              <a:noFill/>
            </c:spPr>
            <c:txPr>
              <a:bodyPr/>
              <a:lstStyle/>
              <a:p>
                <a:pPr>
                  <a:defRPr sz="10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10</c:f>
              <c:strCache>
                <c:ptCount val="9"/>
                <c:pt idx="0">
                  <c:v>Физическая культура и спорт</c:v>
                </c:pt>
                <c:pt idx="1">
                  <c:v>Обслуживание муниципального долга</c:v>
                </c:pt>
                <c:pt idx="2">
                  <c:v>Национальная безопасность и правоохранительная деятельность</c:v>
                </c:pt>
                <c:pt idx="3">
                  <c:v>Национальная экономика</c:v>
                </c:pt>
                <c:pt idx="4">
                  <c:v>Межбюджетные трансферты общего характера</c:v>
                </c:pt>
                <c:pt idx="5">
                  <c:v>Культура, кинематография</c:v>
                </c:pt>
                <c:pt idx="6">
                  <c:v>Социальная политика</c:v>
                </c:pt>
                <c:pt idx="7">
                  <c:v>Общегосударственные вопросы</c:v>
                </c:pt>
                <c:pt idx="8">
                  <c:v>Образование</c:v>
                </c:pt>
              </c:strCache>
            </c:strRef>
          </c:cat>
          <c:val>
            <c:numRef>
              <c:f>Лист1!$C$2:$C$10</c:f>
              <c:numCache>
                <c:formatCode>#,##0.0</c:formatCode>
                <c:ptCount val="9"/>
                <c:pt idx="0">
                  <c:v>121.6</c:v>
                </c:pt>
                <c:pt idx="1">
                  <c:v>507.5</c:v>
                </c:pt>
                <c:pt idx="2">
                  <c:v>3785.8</c:v>
                </c:pt>
                <c:pt idx="3">
                  <c:v>8725.5</c:v>
                </c:pt>
                <c:pt idx="4">
                  <c:v>126597.6</c:v>
                </c:pt>
                <c:pt idx="5">
                  <c:v>49296.2</c:v>
                </c:pt>
                <c:pt idx="6">
                  <c:v>100276.8</c:v>
                </c:pt>
                <c:pt idx="7">
                  <c:v>108870.2</c:v>
                </c:pt>
                <c:pt idx="8">
                  <c:v>1340108.4000000004</c:v>
                </c:pt>
              </c:numCache>
            </c:numRef>
          </c:val>
        </c:ser>
        <c:shape val="cylinder"/>
        <c:axId val="218729088"/>
        <c:axId val="218976640"/>
        <c:axId val="0"/>
      </c:bar3DChart>
      <c:catAx>
        <c:axId val="218729088"/>
        <c:scaling>
          <c:orientation val="minMax"/>
        </c:scaling>
        <c:axPos val="l"/>
        <c:tickLblPos val="nextTo"/>
        <c:txPr>
          <a:bodyPr/>
          <a:lstStyle/>
          <a:p>
            <a:pPr>
              <a:defRPr sz="1200" b="1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218976640"/>
        <c:crosses val="autoZero"/>
        <c:auto val="1"/>
        <c:lblAlgn val="ctr"/>
        <c:lblOffset val="100"/>
      </c:catAx>
      <c:valAx>
        <c:axId val="218976640"/>
        <c:scaling>
          <c:orientation val="minMax"/>
          <c:max val="1600000"/>
        </c:scaling>
        <c:axPos val="t"/>
        <c:majorGridlines/>
        <c:numFmt formatCode="#,##0" sourceLinked="0"/>
        <c:tickLblPos val="nextTo"/>
        <c:txPr>
          <a:bodyPr/>
          <a:lstStyle/>
          <a:p>
            <a:pPr>
              <a:defRPr sz="1000" i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218729088"/>
        <c:crosses val="max"/>
        <c:crossBetween val="between"/>
      </c:valAx>
      <c:spPr>
        <a:solidFill>
          <a:schemeClr val="bg2"/>
        </a:solidFill>
        <a:ln w="25400">
          <a:noFill/>
        </a:ln>
      </c:spPr>
    </c:plotArea>
    <c:legend>
      <c:legendPos val="r"/>
      <c:layout>
        <c:manualLayout>
          <c:xMode val="edge"/>
          <c:yMode val="edge"/>
          <c:x val="0.79153224090231256"/>
          <c:y val="0.44405489184541808"/>
          <c:w val="0.19945875008867134"/>
          <c:h val="0.22970630826319141"/>
        </c:manualLayout>
      </c:layout>
      <c:txPr>
        <a:bodyPr/>
        <a:lstStyle/>
        <a:p>
          <a:pPr>
            <a:defRPr sz="1200" b="1" baseline="0"/>
          </a:pPr>
          <a:endParaRPr lang="ru-RU"/>
        </a:p>
      </c:txPr>
    </c:legend>
    <c:plotVisOnly val="1"/>
  </c:chart>
  <c:spPr>
    <a:ln>
      <a:solidFill>
        <a:schemeClr val="accent1"/>
      </a:solidFill>
    </a:ln>
  </c:spPr>
  <c:txPr>
    <a:bodyPr/>
    <a:lstStyle/>
    <a:p>
      <a:pPr>
        <a:defRPr sz="1800"/>
      </a:pPr>
      <a:endParaRPr lang="ru-RU"/>
    </a:p>
  </c:txPr>
  <c:externalData r:id="rId1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>
        <c:manualLayout>
          <c:layoutTarget val="inner"/>
          <c:xMode val="edge"/>
          <c:yMode val="edge"/>
          <c:x val="0.11863156811280946"/>
          <c:y val="5.8779715035620544E-2"/>
          <c:w val="0.46580374387163881"/>
          <c:h val="0.73264551489888186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Подпрограмма "Повышение эффективности бюджетных расходов муниципального образования "Тайшетский район" на 2014 - 2019 годы (финансирование не предусмотрено)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scene3d>
              <a:camera prst="orthographicFront"/>
              <a:lightRig rig="threePt" dir="t"/>
            </a:scene3d>
            <a:sp3d>
              <a:bevelT w="127000"/>
              <a:bevelB w="127000"/>
            </a:sp3d>
          </c:spPr>
          <c:dLbls>
            <c:dLbl>
              <c:idx val="0"/>
              <c:layout>
                <c:manualLayout>
                  <c:x val="1.2995154451847365E-2"/>
                  <c:y val="-5.2530878493129485E-2"/>
                </c:manualLayout>
              </c:layout>
              <c:showVal val="1"/>
            </c:dLbl>
            <c:dLbl>
              <c:idx val="1"/>
              <c:layout>
                <c:manualLayout>
                  <c:x val="-4.5230387868183154E-3"/>
                  <c:y val="-1.412010998625172E-2"/>
                </c:manualLayout>
              </c:layout>
              <c:showVal val="1"/>
            </c:dLbl>
            <c:dLbl>
              <c:idx val="2"/>
              <c:layout>
                <c:manualLayout>
                  <c:x val="-3.3923884514435697E-3"/>
                  <c:y val="-1.412010998625168E-2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Три подпрограммы - 151 153,5 тыс. рублей</c:v>
                </c:pt>
              </c:strCache>
            </c:strRef>
          </c:cat>
          <c:val>
            <c:numRef>
              <c:f>Лист1!$B$2</c:f>
              <c:numCache>
                <c:formatCode>_-* #,##0.0_р_._-;\-* #,##0.0_р_._-;_-* "-"??_р_._-;_-@_-</c:formatCode>
                <c:ptCount val="1"/>
                <c:pt idx="0">
                  <c:v>0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дпрограмма "Организация составления и исполнения бюджета муниципального образования "Тайшетский район", управление муниципальными финансами" на 2015 - 2019 годы</c:v>
                </c:pt>
              </c:strCache>
            </c:strRef>
          </c:tx>
          <c:spPr>
            <a:solidFill>
              <a:srgbClr val="BA1C98"/>
            </a:solidFill>
            <a:scene3d>
              <a:camera prst="orthographicFront"/>
              <a:lightRig rig="threePt" dir="t"/>
            </a:scene3d>
            <a:sp3d>
              <a:bevelT w="127000"/>
              <a:bevelB w="127000"/>
            </a:sp3d>
          </c:spPr>
          <c:dPt>
            <c:idx val="0"/>
            <c:spPr>
              <a:solidFill>
                <a:srgbClr val="CB0BC2"/>
              </a:solidFill>
              <a:scene3d>
                <a:camera prst="orthographicFront"/>
                <a:lightRig rig="threePt" dir="t"/>
              </a:scene3d>
              <a:sp3d>
                <a:bevelT w="127000"/>
                <a:bevelB w="127000"/>
              </a:sp3d>
            </c:spPr>
          </c:dPt>
          <c:dLbls>
            <c:dLbl>
              <c:idx val="0"/>
              <c:layout>
                <c:manualLayout>
                  <c:x val="6.6033321921717498E-3"/>
                  <c:y val="-5.7297525309336676E-2"/>
                </c:manualLayout>
              </c:layout>
              <c:showVal val="1"/>
            </c:dLbl>
            <c:dLbl>
              <c:idx val="1"/>
              <c:layout>
                <c:manualLayout>
                  <c:x val="-5.6211723534558182E-3"/>
                  <c:y val="-2.405793025871765E-2"/>
                </c:manualLayout>
              </c:layout>
              <c:showVal val="1"/>
            </c:dLbl>
            <c:dLbl>
              <c:idx val="2"/>
              <c:layout>
                <c:manualLayout>
                  <c:x val="-5.9981044036162183E-3"/>
                  <c:y val="-2.1621984751906031E-2"/>
                </c:manualLayout>
              </c:layout>
              <c:showVal val="1"/>
            </c:dLbl>
            <c:spPr>
              <a:scene3d>
                <a:camera prst="orthographicFront"/>
                <a:lightRig rig="threePt" dir="t"/>
              </a:scene3d>
              <a:sp3d>
                <a:bevelT w="6350"/>
              </a:sp3d>
            </c:spPr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Три подпрограммы - 151 153,5 тыс. рублей</c:v>
                </c:pt>
              </c:strCache>
            </c:strRef>
          </c:cat>
          <c:val>
            <c:numRef>
              <c:f>Лист1!$C$2</c:f>
              <c:numCache>
                <c:formatCode>_-* #,##0.0_р_._-;\-* #,##0.0_р_._-;_-* "-"??_р_._-;_-@_-</c:formatCode>
                <c:ptCount val="1"/>
                <c:pt idx="0">
                  <c:v>24555.599999999937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одпрограмма "Финансовая поддержка муниципальных образований Тайшетского района" на 2015 - 2019 годы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 w="127000"/>
              <a:bevelB w="127000"/>
            </a:sp3d>
          </c:spPr>
          <c:dLbls>
            <c:dLbl>
              <c:idx val="0"/>
              <c:layout>
                <c:manualLayout>
                  <c:x val="2.5362318840579802E-2"/>
                  <c:y val="-5.3333333333333788E-2"/>
                </c:manualLayout>
              </c:layout>
              <c:spPr/>
              <c:txPr>
                <a:bodyPr/>
                <a:lstStyle/>
                <a:p>
                  <a:pPr>
                    <a:defRPr sz="1200" b="1">
                      <a:latin typeface="Times New Roman" pitchFamily="18" charset="0"/>
                      <a:cs typeface="Times New Roman" pitchFamily="18" charset="0"/>
                    </a:defRPr>
                  </a:pPr>
                  <a:endParaRPr lang="ru-RU"/>
                </a:p>
              </c:txPr>
              <c:showVal val="1"/>
            </c:dLbl>
            <c:txPr>
              <a:bodyPr/>
              <a:lstStyle/>
              <a:p>
                <a:pPr>
                  <a:defRPr sz="120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Три подпрограммы - 151 153,5 тыс. рублей</c:v>
                </c:pt>
              </c:strCache>
            </c:strRef>
          </c:cat>
          <c:val>
            <c:numRef>
              <c:f>Лист1!$D$2</c:f>
              <c:numCache>
                <c:formatCode>#,##0.0</c:formatCode>
                <c:ptCount val="1"/>
                <c:pt idx="0">
                  <c:v>126597.6</c:v>
                </c:pt>
              </c:numCache>
            </c:numRef>
          </c:val>
        </c:ser>
        <c:dLbls>
          <c:showVal val="1"/>
        </c:dLbls>
        <c:shape val="cylinder"/>
        <c:axId val="224000640"/>
        <c:axId val="224289152"/>
        <c:axId val="0"/>
      </c:bar3DChart>
      <c:catAx>
        <c:axId val="224000640"/>
        <c:scaling>
          <c:orientation val="minMax"/>
        </c:scaling>
        <c:axPos val="b"/>
        <c:tickLblPos val="nextTo"/>
        <c:txPr>
          <a:bodyPr rot="0" vert="horz"/>
          <a:lstStyle/>
          <a:p>
            <a:pPr>
              <a:defRPr sz="12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224289152"/>
        <c:crosses val="autoZero"/>
        <c:auto val="1"/>
        <c:lblAlgn val="ctr"/>
        <c:lblOffset val="100"/>
      </c:catAx>
      <c:valAx>
        <c:axId val="224289152"/>
        <c:scaling>
          <c:orientation val="minMax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 sz="1050" b="0" dirty="0" smtClean="0"/>
                  <a:t>Тыс. рублей</a:t>
                </a:r>
                <a:endParaRPr lang="ru-RU" sz="1050" b="0" dirty="0"/>
              </a:p>
            </c:rich>
          </c:tx>
          <c:layout>
            <c:manualLayout>
              <c:xMode val="edge"/>
              <c:yMode val="edge"/>
              <c:x val="1.6745105137720105E-3"/>
              <c:y val="0.24036214223222357"/>
            </c:manualLayout>
          </c:layout>
        </c:title>
        <c:numFmt formatCode="_-* #,##0.0_р_._-;\-* #,##0.0_р_._-;_-* &quot;-&quot;??_р_._-;_-@_-" sourceLinked="1"/>
        <c:tickLblPos val="nextTo"/>
        <c:txPr>
          <a:bodyPr/>
          <a:lstStyle/>
          <a:p>
            <a:pPr>
              <a:defRPr sz="1000" baseline="0"/>
            </a:pPr>
            <a:endParaRPr lang="ru-RU"/>
          </a:p>
        </c:txPr>
        <c:crossAx val="22400064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0432620164903661"/>
          <c:y val="3.0830245484020823E-2"/>
          <c:w val="0.36460218987778265"/>
          <c:h val="0.96787226596675358"/>
        </c:manualLayout>
      </c:layout>
      <c:txPr>
        <a:bodyPr/>
        <a:lstStyle/>
        <a:p>
          <a:pPr>
            <a:defRPr sz="1100" baseline="0">
              <a:latin typeface="Times New Roman" pitchFamily="18" charset="0"/>
              <a:cs typeface="Times New Roman" pitchFamily="18" charset="0"/>
            </a:defRPr>
          </a:pPr>
          <a:endParaRPr lang="ru-RU"/>
        </a:p>
      </c:txPr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AngAx val="1"/>
    </c:view3D>
    <c:plotArea>
      <c:layout>
        <c:manualLayout>
          <c:layoutTarget val="inner"/>
          <c:xMode val="edge"/>
          <c:yMode val="edge"/>
          <c:x val="0.16504512593820508"/>
          <c:y val="5.8779715035620544E-2"/>
          <c:w val="0.81717824745591061"/>
          <c:h val="0.44098308544765413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Подпрограмма "Повышение инвестиционной привлекательности Тайшетского района" на 2014 - 2018 годы</c:v>
                </c:pt>
              </c:strCache>
            </c:strRef>
          </c:tx>
          <c:spPr>
            <a:solidFill>
              <a:srgbClr val="92D050"/>
            </a:solidFill>
            <a:scene3d>
              <a:camera prst="orthographicFront"/>
              <a:lightRig rig="threePt" dir="t"/>
            </a:scene3d>
            <a:sp3d>
              <a:bevelT w="63500"/>
              <a:bevelB h="63500"/>
            </a:sp3d>
          </c:spPr>
          <c:dLbls>
            <c:dLbl>
              <c:idx val="0"/>
              <c:layout>
                <c:manualLayout>
                  <c:x val="1.7699115044247787E-2"/>
                  <c:y val="-5.6499293357561133E-2"/>
                </c:manualLayout>
              </c:layout>
              <c:showVal val="1"/>
            </c:dLbl>
            <c:dLbl>
              <c:idx val="1"/>
              <c:layout>
                <c:manualLayout>
                  <c:x val="1.7699115044247787E-2"/>
                  <c:y val="-6.1835520559930133E-3"/>
                </c:manualLayout>
              </c:layout>
              <c:showVal val="1"/>
            </c:dLbl>
            <c:dLbl>
              <c:idx val="2"/>
              <c:layout>
                <c:manualLayout>
                  <c:x val="1.3274220147260481E-2"/>
                  <c:y val="-6.1835520559930133E-3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Три Подпрограммы - 114,6 тыс. рублей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39.6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дпрограмма "Поддержка и развитие малого и среднего предпринимательства на территории Тайшетского района" на 2014 - 2018 годы</c:v>
                </c:pt>
              </c:strCache>
            </c:strRef>
          </c:tx>
          <c:spPr>
            <a:solidFill>
              <a:srgbClr val="66FFFF"/>
            </a:solidFill>
            <a:scene3d>
              <a:camera prst="orthographicFront"/>
              <a:lightRig rig="threePt" dir="t"/>
            </a:scene3d>
            <a:sp3d>
              <a:bevelT w="127000"/>
              <a:bevelB w="127000"/>
            </a:sp3d>
          </c:spPr>
          <c:dLbls>
            <c:dLbl>
              <c:idx val="0"/>
              <c:layout>
                <c:manualLayout>
                  <c:x val="2.0467836257309982E-2"/>
                  <c:y val="-3.8461538461538464E-2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Три Подпрограммы - 114,6 тыс. рублей</c:v>
                </c:pt>
              </c:strCache>
            </c:strRef>
          </c:cat>
          <c:val>
            <c:numRef>
              <c:f>Лист1!$C$2</c:f>
              <c:numCache>
                <c:formatCode>_-* #,##0.0_р_._-;\-* #,##0.0_р_._-;_-* "-"??_р_._-;_-@_-</c:formatCode>
                <c:ptCount val="1"/>
                <c:pt idx="0">
                  <c:v>70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одпрограмма "Развитие туризма" на 2016 - 2019 годы </c:v>
                </c:pt>
              </c:strCache>
            </c:strRef>
          </c:tx>
          <c:dLbls>
            <c:dLbl>
              <c:idx val="0"/>
              <c:layout>
                <c:manualLayout>
                  <c:x val="3.3995667710211001E-2"/>
                  <c:y val="-5.0320538057742933E-2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Три Подпрограммы - 114,6 тыс. рублей</c:v>
                </c:pt>
              </c:strCache>
            </c:strRef>
          </c:cat>
          <c:val>
            <c:numRef>
              <c:f>Лист1!$D$2</c:f>
              <c:numCache>
                <c:formatCode>_-* #,##0.0_р_._-;\-* #,##0.0_р_._-;_-* "-"_р_._-;_-@_-</c:formatCode>
                <c:ptCount val="1"/>
                <c:pt idx="0">
                  <c:v>5</c:v>
                </c:pt>
              </c:numCache>
            </c:numRef>
          </c:val>
        </c:ser>
        <c:dLbls>
          <c:showVal val="1"/>
        </c:dLbls>
        <c:shape val="cylinder"/>
        <c:axId val="225165312"/>
        <c:axId val="225166848"/>
        <c:axId val="0"/>
      </c:bar3DChart>
      <c:catAx>
        <c:axId val="225165312"/>
        <c:scaling>
          <c:orientation val="minMax"/>
        </c:scaling>
        <c:axPos val="b"/>
        <c:tickLblPos val="nextTo"/>
        <c:txPr>
          <a:bodyPr rot="0" vert="horz"/>
          <a:lstStyle/>
          <a:p>
            <a:pPr>
              <a:defRPr sz="1100" baseline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225166848"/>
        <c:crosses val="autoZero"/>
        <c:auto val="1"/>
        <c:lblAlgn val="ctr"/>
        <c:lblOffset val="100"/>
      </c:catAx>
      <c:valAx>
        <c:axId val="225166848"/>
        <c:scaling>
          <c:orientation val="minMax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 sz="1050" b="0" dirty="0" smtClean="0"/>
                  <a:t>Тыс. рублей</a:t>
                </a:r>
                <a:endParaRPr lang="ru-RU" sz="1050" b="0" dirty="0"/>
              </a:p>
            </c:rich>
          </c:tx>
          <c:layout>
            <c:manualLayout>
              <c:xMode val="edge"/>
              <c:yMode val="edge"/>
              <c:x val="2.0128010314500171E-2"/>
              <c:y val="0.20408908445268129"/>
            </c:manualLayout>
          </c:layout>
        </c:title>
        <c:numFmt formatCode="General" sourceLinked="1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225165312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5.7723162079987525E-2"/>
          <c:y val="0.60400354025514269"/>
          <c:w val="0.8951284707832573"/>
          <c:h val="0.39599645974486097"/>
        </c:manualLayout>
      </c:layout>
      <c:txPr>
        <a:bodyPr/>
        <a:lstStyle/>
        <a:p>
          <a:pPr>
            <a:defRPr sz="1000" baseline="0"/>
          </a:pPr>
          <a:endParaRPr lang="ru-RU"/>
        </a:p>
      </c:txPr>
    </c:legend>
    <c:plotVisOnly val="1"/>
    <c:dispBlanksAs val="gap"/>
  </c:chart>
  <c:spPr>
    <a:scene3d>
      <a:camera prst="orthographicFront"/>
      <a:lightRig rig="threePt" dir="t"/>
    </a:scene3d>
    <a:sp3d/>
  </c:spPr>
  <c:txPr>
    <a:bodyPr/>
    <a:lstStyle/>
    <a:p>
      <a:pPr>
        <a:defRPr sz="1800"/>
      </a:pPr>
      <a:endParaRPr lang="ru-RU"/>
    </a:p>
  </c:txPr>
  <c:externalData r:id="rId1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/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Подпрограмма "Развитие системы дошкольного образования" на 2015 - 2019 годы</c:v>
                </c:pt>
              </c:strCache>
            </c:strRef>
          </c:tx>
          <c:spPr>
            <a:solidFill>
              <a:srgbClr val="CC9900"/>
            </a:solidFill>
            <a:scene3d>
              <a:camera prst="orthographicFront"/>
              <a:lightRig rig="threePt" dir="t"/>
            </a:scene3d>
            <a:sp3d>
              <a:bevelT w="63500"/>
              <a:bevelB h="63500"/>
            </a:sp3d>
          </c:spPr>
          <c:dLbls>
            <c:dLbl>
              <c:idx val="0"/>
              <c:layout>
                <c:manualLayout>
                  <c:x val="4.4247787610619494E-3"/>
                  <c:y val="-4.6837460534824474E-2"/>
                </c:manualLayout>
              </c:layout>
              <c:showVal val="1"/>
            </c:dLbl>
            <c:dLbl>
              <c:idx val="1"/>
              <c:layout>
                <c:manualLayout>
                  <c:x val="1.7699115044247787E-2"/>
                  <c:y val="-6.1835520559930133E-3"/>
                </c:manualLayout>
              </c:layout>
              <c:showVal val="1"/>
            </c:dLbl>
            <c:dLbl>
              <c:idx val="2"/>
              <c:layout>
                <c:manualLayout>
                  <c:x val="1.3274220147260481E-2"/>
                  <c:y val="-6.1835520559930133E-3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Шесть  Подпрограмм   -  1 265 219,8 тыс. рублей</c:v>
                </c:pt>
              </c:strCache>
            </c:strRef>
          </c:cat>
          <c:val>
            <c:numRef>
              <c:f>Лист1!$B$2</c:f>
              <c:numCache>
                <c:formatCode>_-* #,##0.0_р_._-;\-* #,##0.0_р_._-;_-* "-"??_р_._-;_-@_-</c:formatCode>
                <c:ptCount val="1"/>
                <c:pt idx="0">
                  <c:v>323265.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дпрограмма "Развитие системы общего образования" на 2015 -2019 годы</c:v>
                </c:pt>
              </c:strCache>
            </c:strRef>
          </c:tx>
          <c:spPr>
            <a:solidFill>
              <a:srgbClr val="FFCCFF"/>
            </a:solidFill>
            <a:scene3d>
              <a:camera prst="orthographicFront"/>
              <a:lightRig rig="threePt" dir="t"/>
            </a:scene3d>
            <a:sp3d>
              <a:bevelT w="63500"/>
              <a:bevelB h="63500"/>
            </a:sp3d>
          </c:spPr>
          <c:dLbls>
            <c:dLbl>
              <c:idx val="0"/>
              <c:layout>
                <c:manualLayout>
                  <c:x val="1.179941002949852E-2"/>
                  <c:y val="-4.0260044417524725E-2"/>
                </c:manualLayout>
              </c:layout>
              <c:showVal val="1"/>
            </c:dLbl>
            <c:dLbl>
              <c:idx val="1"/>
              <c:layout>
                <c:manualLayout>
                  <c:x val="1.4749262536873134E-2"/>
                  <c:y val="-2.4057917760280618E-2"/>
                </c:manualLayout>
              </c:layout>
              <c:showVal val="1"/>
            </c:dLbl>
            <c:dLbl>
              <c:idx val="2"/>
              <c:layout>
                <c:manualLayout>
                  <c:x val="1.6224072654635484E-2"/>
                  <c:y val="-3.3526509186351708E-2"/>
                </c:manualLayout>
              </c:layout>
              <c:showVal val="1"/>
            </c:dLbl>
            <c:spPr>
              <a:scene3d>
                <a:camera prst="orthographicFront"/>
                <a:lightRig rig="threePt" dir="t"/>
              </a:scene3d>
              <a:sp3d>
                <a:bevelT w="6350"/>
              </a:sp3d>
            </c:spPr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Шесть  Подпрограмм   -  1 265 219,8 тыс. рублей</c:v>
                </c:pt>
              </c:strCache>
            </c:strRef>
          </c:cat>
          <c:val>
            <c:numRef>
              <c:f>Лист1!$C$2</c:f>
              <c:numCache>
                <c:formatCode>_-* #,##0.0_р_._-;\-* #,##0.0_р_._-;_-* "-"??_р_._-;_-@_-</c:formatCode>
                <c:ptCount val="1"/>
                <c:pt idx="0">
                  <c:v>820945.5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одпрограмма "Развитие системы дополнительного образования детей" на 2015 - 2019 годы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scene3d>
              <a:camera prst="orthographicFront"/>
              <a:lightRig rig="threePt" dir="t"/>
            </a:scene3d>
            <a:sp3d>
              <a:bevelT w="63500"/>
              <a:bevelB h="63500"/>
            </a:sp3d>
          </c:spPr>
          <c:dLbls>
            <c:dLbl>
              <c:idx val="0"/>
              <c:layout>
                <c:manualLayout>
                  <c:x val="2.6548440294520706E-2"/>
                  <c:y val="-3.4641631334544717E-2"/>
                </c:manualLayout>
              </c:layout>
              <c:showVal val="1"/>
            </c:dLbl>
            <c:dLbl>
              <c:idx val="1"/>
              <c:layout>
                <c:manualLayout>
                  <c:x val="2.3598820058996987E-2"/>
                  <c:y val="-5.6908136482939617E-2"/>
                </c:manualLayout>
              </c:layout>
              <c:showVal val="1"/>
            </c:dLbl>
            <c:dLbl>
              <c:idx val="2"/>
              <c:layout>
                <c:manualLayout>
                  <c:x val="2.06489675516233E-2"/>
                  <c:y val="-7.4879212811591933E-2"/>
                </c:manualLayout>
              </c:layout>
              <c:showVal val="1"/>
            </c:dLbl>
            <c:spPr>
              <a:scene3d>
                <a:camera prst="orthographicFront"/>
                <a:lightRig rig="threePt" dir="t"/>
              </a:scene3d>
              <a:sp3d>
                <a:bevelT w="6350"/>
              </a:sp3d>
            </c:spPr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Шесть  Подпрограмм   -  1 265 219,8 тыс. рублей</c:v>
                </c:pt>
              </c:strCache>
            </c:strRef>
          </c:cat>
          <c:val>
            <c:numRef>
              <c:f>Лист1!$D$2</c:f>
              <c:numCache>
                <c:formatCode>_-* #,##0.0_р_._-;\-* #,##0.0_р_._-;_-* "-"??_р_._-;_-@_-</c:formatCode>
                <c:ptCount val="1"/>
                <c:pt idx="0">
                  <c:v>46189.599999999999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Подпрограмма "Обеспечение реализации МП "Развитие муниципальной системы образования на 2015-2019 годы и прочие мероприятия в области образования"</c:v>
                </c:pt>
              </c:strCache>
            </c:strRef>
          </c:tx>
          <c:spPr>
            <a:solidFill>
              <a:srgbClr val="92D050"/>
            </a:solidFill>
            <a:scene3d>
              <a:camera prst="orthographicFront"/>
              <a:lightRig rig="threePt" dir="t"/>
            </a:scene3d>
            <a:sp3d>
              <a:bevelT w="63500"/>
            </a:sp3d>
          </c:spPr>
          <c:dLbls>
            <c:dLbl>
              <c:idx val="0"/>
              <c:layout>
                <c:manualLayout>
                  <c:x val="1.179941002949852E-2"/>
                  <c:y val="-4.8376337573188023E-2"/>
                </c:manualLayout>
              </c:layout>
              <c:showVal val="1"/>
            </c:dLbl>
            <c:dLbl>
              <c:idx val="1"/>
              <c:layout>
                <c:manualLayout>
                  <c:x val="1.3274336283185841E-2"/>
                  <c:y val="4.4444444444444514E-3"/>
                </c:manualLayout>
              </c:layout>
              <c:showVal val="1"/>
            </c:dLbl>
            <c:dLbl>
              <c:idx val="2"/>
              <c:layout>
                <c:manualLayout>
                  <c:x val="1.6224188790561079E-2"/>
                  <c:y val="-2.2222222222222292E-3"/>
                </c:manualLayout>
              </c:layout>
              <c:showVal val="1"/>
            </c:dLbl>
            <c:spPr>
              <a:scene3d>
                <a:camera prst="orthographicFront"/>
                <a:lightRig rig="threePt" dir="t"/>
              </a:scene3d>
              <a:sp3d>
                <a:bevelB prst="relaxedInset"/>
              </a:sp3d>
            </c:spPr>
            <c:txPr>
              <a:bodyPr/>
              <a:lstStyle/>
              <a:p>
                <a:pPr>
                  <a:defRPr sz="1200" b="1" baseline="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Шесть  Подпрограмм   -  1 265 219,8 тыс. рублей</c:v>
                </c:pt>
              </c:strCache>
            </c:strRef>
          </c:cat>
          <c:val>
            <c:numRef>
              <c:f>Лист1!$E$2</c:f>
              <c:numCache>
                <c:formatCode>_-* #,##0.0_р_._-;\-* #,##0.0_р_._-;_-* "-"??_р_._-;_-@_-</c:formatCode>
                <c:ptCount val="1"/>
                <c:pt idx="0">
                  <c:v>44304.7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Подпрограмма "Организация отдыха и оздоровления детей в образовательных организациях МО "Тайшетский район" в каникулярное время" на 2015 - 2019 годы</c:v>
                </c:pt>
              </c:strCache>
            </c:strRef>
          </c:tx>
          <c:spPr>
            <a:solidFill>
              <a:srgbClr val="7030A0"/>
            </a:solidFill>
            <a:scene3d>
              <a:camera prst="orthographicFront"/>
              <a:lightRig rig="threePt" dir="t"/>
            </a:scene3d>
            <a:sp3d>
              <a:bevelT w="127000"/>
              <a:bevelB w="127000"/>
            </a:sp3d>
          </c:spPr>
          <c:dLbls>
            <c:dLbl>
              <c:idx val="0"/>
              <c:layout>
                <c:manualLayout>
                  <c:x val="1.7699115044247787E-2"/>
                  <c:y val="-3.7948717948718041E-2"/>
                </c:manualLayout>
              </c:layout>
              <c:showVal val="1"/>
            </c:dLbl>
            <c:dLbl>
              <c:idx val="1"/>
              <c:layout>
                <c:manualLayout>
                  <c:x val="1.3274336283185841E-2"/>
                  <c:y val="-5.3333333333334523E-2"/>
                </c:manualLayout>
              </c:layout>
              <c:showVal val="1"/>
            </c:dLbl>
            <c:dLbl>
              <c:idx val="2"/>
              <c:layout>
                <c:manualLayout>
                  <c:x val="2.0648851415697042E-2"/>
                  <c:y val="-5.5555555555555455E-2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Шесть  Подпрограмм   -  1 265 219,8 тыс. рублей</c:v>
                </c:pt>
              </c:strCache>
            </c:strRef>
          </c:cat>
          <c:val>
            <c:numRef>
              <c:f>Лист1!$F$2</c:f>
              <c:numCache>
                <c:formatCode>_-* #,##0.0_р_._-;\-* #,##0.0_р_._-;_-* "-"??_р_._-;_-@_-</c:formatCode>
                <c:ptCount val="1"/>
                <c:pt idx="0">
                  <c:v>6443.6</c:v>
                </c:pt>
              </c:numCache>
            </c:numRef>
          </c:val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Подпрограмма "Развитие и укрепление материально-технической базы образовательных учреждений Тайшетского района" на 2016 - 2019 годы</c:v>
                </c:pt>
              </c:strCache>
            </c:strRef>
          </c:tx>
          <c:dLbls>
            <c:dLbl>
              <c:idx val="0"/>
              <c:layout>
                <c:manualLayout>
                  <c:x val="1.0324483775811209E-2"/>
                  <c:y val="-3.3816425120772944E-2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Шесть  Подпрограмм   -  1 265 219,8 тыс. рублей</c:v>
                </c:pt>
              </c:strCache>
            </c:strRef>
          </c:cat>
          <c:val>
            <c:numRef>
              <c:f>Лист1!$G$2</c:f>
              <c:numCache>
                <c:formatCode>_-* #,##0.0_р_._-;\-* #,##0.0_р_._-;_-* "-"??_р_._-;_-@_-</c:formatCode>
                <c:ptCount val="1"/>
                <c:pt idx="0">
                  <c:v>24070.9</c:v>
                </c:pt>
              </c:numCache>
            </c:numRef>
          </c:val>
        </c:ser>
        <c:dLbls>
          <c:showVal val="1"/>
        </c:dLbls>
        <c:shape val="cylinder"/>
        <c:axId val="225093504"/>
        <c:axId val="225095040"/>
        <c:axId val="0"/>
      </c:bar3DChart>
      <c:catAx>
        <c:axId val="225093504"/>
        <c:scaling>
          <c:orientation val="minMax"/>
        </c:scaling>
        <c:axPos val="b"/>
        <c:tickLblPos val="nextTo"/>
        <c:txPr>
          <a:bodyPr rot="0" vert="horz"/>
          <a:lstStyle/>
          <a:p>
            <a:pPr>
              <a:defRPr sz="14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225095040"/>
        <c:crosses val="autoZero"/>
        <c:auto val="1"/>
        <c:lblAlgn val="ctr"/>
        <c:lblOffset val="100"/>
      </c:catAx>
      <c:valAx>
        <c:axId val="225095040"/>
        <c:scaling>
          <c:orientation val="minMax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 sz="1050" b="0" dirty="0" smtClean="0"/>
                  <a:t>Тыс. рублей</a:t>
                </a:r>
                <a:endParaRPr lang="ru-RU" sz="1050" b="0" dirty="0"/>
              </a:p>
            </c:rich>
          </c:tx>
          <c:layout/>
        </c:title>
        <c:numFmt formatCode="_-* #,##0.0_р_._-;\-* #,##0.0_р_._-;_-* &quot;-&quot;??_р_._-;_-@_-" sourceLinked="1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225093504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1.6249970966018663E-2"/>
          <c:y val="0.5511367872494195"/>
          <c:w val="0.71714758553410962"/>
          <c:h val="0.44886321275058011"/>
        </c:manualLayout>
      </c:layout>
      <c:txPr>
        <a:bodyPr/>
        <a:lstStyle/>
        <a:p>
          <a:pPr>
            <a:defRPr sz="1200" baseline="0">
              <a:latin typeface="Times New Roman" pitchFamily="18" charset="0"/>
              <a:cs typeface="Times New Roman" pitchFamily="18" charset="0"/>
            </a:defRPr>
          </a:pPr>
          <a:endParaRPr lang="ru-RU"/>
        </a:p>
      </c:txPr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>
        <c:manualLayout>
          <c:layoutTarget val="inner"/>
          <c:xMode val="edge"/>
          <c:yMode val="edge"/>
          <c:x val="0.14457726523122671"/>
          <c:y val="5.8779715035620544E-2"/>
          <c:w val="0.828874062202411"/>
          <c:h val="0.40617492666357885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Подпрограмма "Развитие  и сохранение культуры" на 2015 - 2019 годы</c:v>
                </c:pt>
              </c:strCache>
            </c:strRef>
          </c:tx>
          <c:spPr>
            <a:solidFill>
              <a:srgbClr val="FFFF00"/>
            </a:solidFill>
            <a:scene3d>
              <a:camera prst="orthographicFront"/>
              <a:lightRig rig="threePt" dir="t"/>
            </a:scene3d>
            <a:sp3d>
              <a:bevelT w="127000"/>
              <a:bevelB w="127000"/>
            </a:sp3d>
          </c:spPr>
          <c:dLbls>
            <c:dLbl>
              <c:idx val="0"/>
              <c:layout>
                <c:manualLayout>
                  <c:x val="1.7699115044247787E-2"/>
                  <c:y val="-5.6499293357561133E-2"/>
                </c:manualLayout>
              </c:layout>
              <c:showVal val="1"/>
            </c:dLbl>
            <c:dLbl>
              <c:idx val="1"/>
              <c:layout>
                <c:manualLayout>
                  <c:x val="1.7699115044247787E-2"/>
                  <c:y val="-6.1835520559930133E-3"/>
                </c:manualLayout>
              </c:layout>
              <c:showVal val="1"/>
            </c:dLbl>
            <c:dLbl>
              <c:idx val="2"/>
              <c:layout>
                <c:manualLayout>
                  <c:x val="1.3274220147260481E-2"/>
                  <c:y val="-6.1835520559930133E-3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Семь  Подпрограмм - 135 544,2 тыс. рублей</c:v>
                </c:pt>
              </c:strCache>
            </c:strRef>
          </c:cat>
          <c:val>
            <c:numRef>
              <c:f>Лист1!$B$2</c:f>
              <c:numCache>
                <c:formatCode>_-* #,##0.0_р_._-;\-* #,##0.0_р_._-;_-* "-"??_р_._-;_-@_-</c:formatCode>
                <c:ptCount val="1"/>
                <c:pt idx="0">
                  <c:v>2054.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дпрограмма "Развитие физической культуры и спорта" на 2015 - 2019 годы</c:v>
                </c:pt>
              </c:strCache>
            </c:strRef>
          </c:tx>
          <c:spPr>
            <a:solidFill>
              <a:srgbClr val="92D050"/>
            </a:solidFill>
            <a:scene3d>
              <a:camera prst="orthographicFront"/>
              <a:lightRig rig="threePt" dir="t"/>
            </a:scene3d>
            <a:sp3d>
              <a:bevelT w="127000"/>
              <a:bevelB w="127000"/>
            </a:sp3d>
          </c:spPr>
          <c:dLbls>
            <c:dLbl>
              <c:idx val="0"/>
              <c:layout>
                <c:manualLayout>
                  <c:x val="1.179941002949852E-2"/>
                  <c:y val="-4.0260044417524725E-2"/>
                </c:manualLayout>
              </c:layout>
              <c:showVal val="1"/>
            </c:dLbl>
            <c:dLbl>
              <c:idx val="1"/>
              <c:layout>
                <c:manualLayout>
                  <c:x val="1.4749262536873134E-2"/>
                  <c:y val="-2.4057917760280632E-2"/>
                </c:manualLayout>
              </c:layout>
              <c:showVal val="1"/>
            </c:dLbl>
            <c:dLbl>
              <c:idx val="2"/>
              <c:layout>
                <c:manualLayout>
                  <c:x val="1.6224072654635491E-2"/>
                  <c:y val="-3.3526509186351708E-2"/>
                </c:manualLayout>
              </c:layout>
              <c:showVal val="1"/>
            </c:dLbl>
            <c:spPr>
              <a:scene3d>
                <a:camera prst="orthographicFront"/>
                <a:lightRig rig="threePt" dir="t"/>
              </a:scene3d>
              <a:sp3d>
                <a:bevelT w="6350"/>
              </a:sp3d>
            </c:spPr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Семь  Подпрограмм - 135 544,2 тыс. рублей</c:v>
                </c:pt>
              </c:strCache>
            </c:strRef>
          </c:cat>
          <c:val>
            <c:numRef>
              <c:f>Лист1!$C$2</c:f>
              <c:numCache>
                <c:formatCode>_-* #,##0.0_р_._-;\-* #,##0.0_р_._-;_-* "-"??_р_._-;_-@_-</c:formatCode>
                <c:ptCount val="1"/>
                <c:pt idx="0">
                  <c:v>121.6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одпрограмма "Молодежь Тайшетского района" на 2015 - 2019 годы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scene3d>
              <a:camera prst="orthographicFront"/>
              <a:lightRig rig="threePt" dir="t"/>
            </a:scene3d>
            <a:sp3d>
              <a:bevelT w="63500"/>
              <a:bevelB h="63500"/>
            </a:sp3d>
          </c:spPr>
          <c:dLbls>
            <c:dLbl>
              <c:idx val="0"/>
              <c:layout>
                <c:manualLayout>
                  <c:x val="2.6548440294520706E-2"/>
                  <c:y val="-3.4641631334544717E-2"/>
                </c:manualLayout>
              </c:layout>
              <c:showVal val="1"/>
            </c:dLbl>
            <c:dLbl>
              <c:idx val="1"/>
              <c:layout>
                <c:manualLayout>
                  <c:x val="2.3598820058996987E-2"/>
                  <c:y val="-5.6908136482939617E-2"/>
                </c:manualLayout>
              </c:layout>
              <c:showVal val="1"/>
            </c:dLbl>
            <c:dLbl>
              <c:idx val="2"/>
              <c:layout>
                <c:manualLayout>
                  <c:x val="2.0648967551623321E-2"/>
                  <c:y val="-7.4879212811591933E-2"/>
                </c:manualLayout>
              </c:layout>
              <c:showVal val="1"/>
            </c:dLbl>
            <c:spPr>
              <a:scene3d>
                <a:camera prst="orthographicFront"/>
                <a:lightRig rig="threePt" dir="t"/>
              </a:scene3d>
              <a:sp3d>
                <a:bevelT w="6350"/>
              </a:sp3d>
            </c:spPr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Семь  Подпрограмм - 135 544,2 тыс. рублей</c:v>
                </c:pt>
              </c:strCache>
            </c:strRef>
          </c:cat>
          <c:val>
            <c:numRef>
              <c:f>Лист1!$D$2</c:f>
              <c:numCache>
                <c:formatCode>_-* #,##0.0_р_._-;\-* #,##0.0_р_._-;_-* "-"??_р_._-;_-@_-</c:formatCode>
                <c:ptCount val="1"/>
                <c:pt idx="0">
                  <c:v>33.6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Подпрограмма "Профилактика правонарушений и преступлений" на 2015 - 2019 годы</c:v>
                </c:pt>
              </c:strCache>
            </c:strRef>
          </c:tx>
          <c:spPr>
            <a:solidFill>
              <a:schemeClr val="accent1"/>
            </a:solidFill>
            <a:scene3d>
              <a:camera prst="orthographicFront"/>
              <a:lightRig rig="threePt" dir="t"/>
            </a:scene3d>
            <a:sp3d>
              <a:bevelT w="63500"/>
            </a:sp3d>
          </c:spPr>
          <c:dLbls>
            <c:dLbl>
              <c:idx val="0"/>
              <c:layout>
                <c:manualLayout>
                  <c:x val="1.179941002949852E-2"/>
                  <c:y val="-4.8376337573188023E-2"/>
                </c:manualLayout>
              </c:layout>
              <c:showVal val="1"/>
            </c:dLbl>
            <c:dLbl>
              <c:idx val="1"/>
              <c:layout>
                <c:manualLayout>
                  <c:x val="1.3274336283185841E-2"/>
                  <c:y val="4.4444444444444514E-3"/>
                </c:manualLayout>
              </c:layout>
              <c:showVal val="1"/>
            </c:dLbl>
            <c:dLbl>
              <c:idx val="2"/>
              <c:layout>
                <c:manualLayout>
                  <c:x val="1.6224188790561093E-2"/>
                  <c:y val="-2.2222222222222292E-3"/>
                </c:manualLayout>
              </c:layout>
              <c:showVal val="1"/>
            </c:dLbl>
            <c:spPr>
              <a:scene3d>
                <a:camera prst="orthographicFront"/>
                <a:lightRig rig="threePt" dir="t"/>
              </a:scene3d>
              <a:sp3d>
                <a:bevelB prst="relaxedInset"/>
              </a:sp3d>
            </c:spPr>
            <c:txPr>
              <a:bodyPr/>
              <a:lstStyle/>
              <a:p>
                <a:pPr>
                  <a:defRPr sz="1200" b="1" baseline="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Семь  Подпрограмм - 135 544,2 тыс. рублей</c:v>
                </c:pt>
              </c:strCache>
            </c:strRef>
          </c:cat>
          <c:val>
            <c:numRef>
              <c:f>Лист1!$E$2</c:f>
              <c:numCache>
                <c:formatCode>_-* #,##0.0_р_._-;\-* #,##0.0_р_._-;_-* "-"??_р_._-;_-@_-</c:formatCode>
                <c:ptCount val="1"/>
                <c:pt idx="0">
                  <c:v>26.1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Подпрограмма "Создание условий для эффективного использования средств местного бюджета, предоставляемых на поддержку культурной деятельности муниципальных учреждений культуры"  на 2015 - 2019 годы</c:v>
                </c:pt>
              </c:strCache>
            </c:strRef>
          </c:tx>
          <c:spPr>
            <a:solidFill>
              <a:srgbClr val="66FFFF"/>
            </a:solidFill>
            <a:scene3d>
              <a:camera prst="orthographicFront"/>
              <a:lightRig rig="threePt" dir="t"/>
            </a:scene3d>
            <a:sp3d>
              <a:bevelT w="63500"/>
              <a:bevelB h="63500"/>
            </a:sp3d>
          </c:spPr>
          <c:dLbls>
            <c:dLbl>
              <c:idx val="0"/>
              <c:layout>
                <c:manualLayout>
                  <c:x val="1.7699115044247787E-2"/>
                  <c:y val="-3.7948717948718041E-2"/>
                </c:manualLayout>
              </c:layout>
              <c:showVal val="1"/>
            </c:dLbl>
            <c:dLbl>
              <c:idx val="1"/>
              <c:layout>
                <c:manualLayout>
                  <c:x val="1.3274336283185841E-2"/>
                  <c:y val="-5.3333333333334523E-2"/>
                </c:manualLayout>
              </c:layout>
              <c:showVal val="1"/>
            </c:dLbl>
            <c:dLbl>
              <c:idx val="2"/>
              <c:layout>
                <c:manualLayout>
                  <c:x val="2.0648851415697042E-2"/>
                  <c:y val="-5.5555555555555455E-2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Семь  Подпрограмм - 135 544,2 тыс. рублей</c:v>
                </c:pt>
              </c:strCache>
            </c:strRef>
          </c:cat>
          <c:val>
            <c:numRef>
              <c:f>Лист1!$F$2</c:f>
              <c:numCache>
                <c:formatCode>_-* #,##0.0_р_._-;\-* #,##0.0_р_._-;_-* "-"??_р_._-;_-@_-</c:formatCode>
                <c:ptCount val="1"/>
                <c:pt idx="0">
                  <c:v>133308.4</c:v>
                </c:pt>
              </c:numCache>
            </c:numRef>
          </c:val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Подпрограмма "Организация отдыха и оздоровления детей в учреждениях дополнительного образования сферы спорта в каникулярное время" (финансирование не предусмотрено)</c:v>
                </c:pt>
              </c:strCache>
            </c:strRef>
          </c:tx>
          <c:spPr>
            <a:solidFill>
              <a:srgbClr val="7030A0"/>
            </a:solidFill>
          </c:spPr>
          <c:dLbls>
            <c:dLbl>
              <c:idx val="0"/>
              <c:layout>
                <c:manualLayout>
                  <c:x val="1.3274336283185841E-2"/>
                  <c:y val="-1.9487139107611604E-2"/>
                </c:manualLayout>
              </c:layout>
              <c:showVal val="1"/>
            </c:dLbl>
            <c:txPr>
              <a:bodyPr/>
              <a:lstStyle/>
              <a:p>
                <a:pPr>
                  <a:defRPr sz="18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Семь  Подпрограмм - 135 544,2 тыс. рублей</c:v>
                </c:pt>
              </c:strCache>
            </c:strRef>
          </c:cat>
          <c:val>
            <c:numRef>
              <c:f>Лист1!$G$2</c:f>
              <c:numCache>
                <c:formatCode>_-* #,##0.0_р_._-;\-* #,##0.0_р_._-;_-* "-"??_р_._-;_-@_-</c:formatCode>
                <c:ptCount val="1"/>
                <c:pt idx="0">
                  <c:v>0</c:v>
                </c:pt>
              </c:numCache>
            </c:numRef>
          </c:val>
        </c:ser>
        <c:ser>
          <c:idx val="6"/>
          <c:order val="6"/>
          <c:tx>
            <c:strRef>
              <c:f>Лист1!$H$1</c:f>
              <c:strCache>
                <c:ptCount val="1"/>
                <c:pt idx="0">
                  <c:v>Подпрограмма "Комплексные меры профилактики злоупотребления наркотическими средствами и психотроптыми веществами" на 2015 - 2018 годы (финансирование  не предусмотрено)</c:v>
                </c:pt>
              </c:strCache>
            </c:strRef>
          </c:tx>
          <c:spPr>
            <a:solidFill>
              <a:srgbClr val="FFCCFF"/>
            </a:solidFill>
          </c:spPr>
          <c:dLbls>
            <c:dLbl>
              <c:idx val="0"/>
              <c:layout>
                <c:manualLayout>
                  <c:x val="2.2123893805309811E-2"/>
                  <c:y val="-2.0000000000000011E-2"/>
                </c:manualLayout>
              </c:layout>
              <c:showVal val="1"/>
            </c:dLbl>
            <c:showVal val="1"/>
          </c:dLbls>
          <c:cat>
            <c:strRef>
              <c:f>Лист1!$A$2</c:f>
              <c:strCache>
                <c:ptCount val="1"/>
                <c:pt idx="0">
                  <c:v>Семь  Подпрограмм - 135 544,2 тыс. рублей</c:v>
                </c:pt>
              </c:strCache>
            </c:strRef>
          </c:cat>
          <c:val>
            <c:numRef>
              <c:f>Лист1!$H$2</c:f>
              <c:numCache>
                <c:formatCode>_-* #,##0.0_р_._-;\-* #,##0.0_р_._-;_-* "-"??_р_._-;_-@_-</c:formatCode>
                <c:ptCount val="1"/>
                <c:pt idx="0">
                  <c:v>0</c:v>
                </c:pt>
              </c:numCache>
            </c:numRef>
          </c:val>
        </c:ser>
        <c:dLbls>
          <c:showVal val="1"/>
        </c:dLbls>
        <c:shape val="cylinder"/>
        <c:axId val="207644928"/>
        <c:axId val="207667200"/>
        <c:axId val="0"/>
      </c:bar3DChart>
      <c:catAx>
        <c:axId val="207644928"/>
        <c:scaling>
          <c:orientation val="minMax"/>
        </c:scaling>
        <c:axPos val="b"/>
        <c:tickLblPos val="nextTo"/>
        <c:txPr>
          <a:bodyPr rot="0" vert="horz"/>
          <a:lstStyle/>
          <a:p>
            <a:pPr>
              <a:defRPr sz="14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207667200"/>
        <c:crosses val="autoZero"/>
        <c:auto val="1"/>
        <c:lblAlgn val="ctr"/>
        <c:lblOffset val="100"/>
      </c:catAx>
      <c:valAx>
        <c:axId val="207667200"/>
        <c:scaling>
          <c:orientation val="minMax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 sz="1050" b="0" dirty="0" smtClean="0"/>
                  <a:t>Тыс. рублей</a:t>
                </a:r>
                <a:endParaRPr lang="ru-RU" sz="1050" b="0" dirty="0"/>
              </a:p>
            </c:rich>
          </c:tx>
          <c:layout/>
        </c:title>
        <c:numFmt formatCode="_-* #,##0.0_р_._-;\-* #,##0.0_р_._-;_-* &quot;-&quot;??_р_._-;_-@_-" sourceLinked="1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207644928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6.0497758576638104E-2"/>
          <c:y val="0.52220076942436389"/>
          <c:w val="0.85787900959283159"/>
          <c:h val="0.43834540682414896"/>
        </c:manualLayout>
      </c:layout>
      <c:txPr>
        <a:bodyPr/>
        <a:lstStyle/>
        <a:p>
          <a:pPr>
            <a:defRPr sz="1100" baseline="0">
              <a:latin typeface="Times New Roman" pitchFamily="18" charset="0"/>
              <a:cs typeface="Times New Roman" pitchFamily="18" charset="0"/>
            </a:defRPr>
          </a:pPr>
          <a:endParaRPr lang="ru-RU"/>
        </a:p>
      </c:txPr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>
        <c:manualLayout>
          <c:layoutTarget val="inner"/>
          <c:xMode val="edge"/>
          <c:yMode val="edge"/>
          <c:x val="0.14457726523122671"/>
          <c:y val="5.8779715035620544E-2"/>
          <c:w val="0.82887406220241111"/>
          <c:h val="0.40617492666357885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Подпрограмма "Осуществление областных государственных полномочий по предоставлению мер социальной поддержки населению" на 2017 - 2020 годы</c:v>
                </c:pt>
              </c:strCache>
            </c:strRef>
          </c:tx>
          <c:spPr>
            <a:solidFill>
              <a:srgbClr val="FFFF00"/>
            </a:solidFill>
            <a:scene3d>
              <a:camera prst="orthographicFront"/>
              <a:lightRig rig="threePt" dir="t"/>
            </a:scene3d>
            <a:sp3d>
              <a:bevelT w="127000"/>
              <a:bevelB w="127000"/>
            </a:sp3d>
          </c:spPr>
          <c:dLbls>
            <c:dLbl>
              <c:idx val="0"/>
              <c:layout>
                <c:manualLayout>
                  <c:x val="1.7699115044247787E-2"/>
                  <c:y val="-5.6499293357561133E-2"/>
                </c:manualLayout>
              </c:layout>
              <c:showVal val="1"/>
            </c:dLbl>
            <c:dLbl>
              <c:idx val="1"/>
              <c:layout>
                <c:manualLayout>
                  <c:x val="1.7699115044247787E-2"/>
                  <c:y val="-6.1835520559930133E-3"/>
                </c:manualLayout>
              </c:layout>
              <c:showVal val="1"/>
            </c:dLbl>
            <c:dLbl>
              <c:idx val="2"/>
              <c:layout>
                <c:manualLayout>
                  <c:x val="1.3274220147260481E-2"/>
                  <c:y val="-6.1835520559930133E-3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Четыре  Подпрограмм - 81 377,4 тыс. рублей</c:v>
                </c:pt>
              </c:strCache>
            </c:strRef>
          </c:cat>
          <c:val>
            <c:numRef>
              <c:f>Лист1!$B$2</c:f>
              <c:numCache>
                <c:formatCode>_-* #,##0.0_р_._-;\-* #,##0.0_р_._-;_-* "-"??_р_._-;_-@_-</c:formatCode>
                <c:ptCount val="1"/>
                <c:pt idx="0">
                  <c:v>71150.3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дпрограмма "Социальная поддержка отдельных категорий граждан" на 2017 - 2020 годы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scene3d>
              <a:camera prst="orthographicFront"/>
              <a:lightRig rig="threePt" dir="t"/>
            </a:scene3d>
            <a:sp3d>
              <a:bevelT w="127000"/>
              <a:bevelB w="127000"/>
            </a:sp3d>
          </c:spPr>
          <c:dLbls>
            <c:dLbl>
              <c:idx val="0"/>
              <c:layout>
                <c:manualLayout>
                  <c:x val="1.179941002949852E-2"/>
                  <c:y val="-4.0260044417524725E-2"/>
                </c:manualLayout>
              </c:layout>
              <c:showVal val="1"/>
            </c:dLbl>
            <c:dLbl>
              <c:idx val="1"/>
              <c:layout>
                <c:manualLayout>
                  <c:x val="1.4749262536873134E-2"/>
                  <c:y val="-2.4057917760280635E-2"/>
                </c:manualLayout>
              </c:layout>
              <c:showVal val="1"/>
            </c:dLbl>
            <c:dLbl>
              <c:idx val="2"/>
              <c:layout>
                <c:manualLayout>
                  <c:x val="1.6224072654635494E-2"/>
                  <c:y val="-3.3526509186351708E-2"/>
                </c:manualLayout>
              </c:layout>
              <c:showVal val="1"/>
            </c:dLbl>
            <c:spPr>
              <a:scene3d>
                <a:camera prst="orthographicFront"/>
                <a:lightRig rig="threePt" dir="t"/>
              </a:scene3d>
              <a:sp3d>
                <a:bevelT w="6350"/>
              </a:sp3d>
            </c:spPr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Четыре  Подпрограмм - 81 377,4 тыс. рублей</c:v>
                </c:pt>
              </c:strCache>
            </c:strRef>
          </c:cat>
          <c:val>
            <c:numRef>
              <c:f>Лист1!$C$2</c:f>
              <c:numCache>
                <c:formatCode>_-* #,##0.0_р_._-;\-* #,##0.0_р_._-;_-* "-"??_р_._-;_-@_-</c:formatCode>
                <c:ptCount val="1"/>
                <c:pt idx="0">
                  <c:v>9686.4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одпрограмма "Поддержка социально ориентированных некоммерческих организаций" на 2017 - 2020 годы (финансирование не предусмотрено)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scene3d>
              <a:camera prst="orthographicFront"/>
              <a:lightRig rig="threePt" dir="t"/>
            </a:scene3d>
            <a:sp3d>
              <a:bevelT w="63500"/>
              <a:bevelB h="63500"/>
            </a:sp3d>
          </c:spPr>
          <c:dLbls>
            <c:dLbl>
              <c:idx val="0"/>
              <c:layout>
                <c:manualLayout>
                  <c:x val="2.6548440294520706E-2"/>
                  <c:y val="-3.4641631334544717E-2"/>
                </c:manualLayout>
              </c:layout>
              <c:showVal val="1"/>
            </c:dLbl>
            <c:dLbl>
              <c:idx val="1"/>
              <c:layout>
                <c:manualLayout>
                  <c:x val="2.3598820058996987E-2"/>
                  <c:y val="-5.6908136482939617E-2"/>
                </c:manualLayout>
              </c:layout>
              <c:showVal val="1"/>
            </c:dLbl>
            <c:dLbl>
              <c:idx val="2"/>
              <c:layout>
                <c:manualLayout>
                  <c:x val="2.0648967551623335E-2"/>
                  <c:y val="-7.4879212811591933E-2"/>
                </c:manualLayout>
              </c:layout>
              <c:showVal val="1"/>
            </c:dLbl>
            <c:spPr>
              <a:scene3d>
                <a:camera prst="orthographicFront"/>
                <a:lightRig rig="threePt" dir="t"/>
              </a:scene3d>
              <a:sp3d>
                <a:bevelT w="6350"/>
              </a:sp3d>
            </c:spPr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Четыре  Подпрограмм - 81 377,4 тыс. рублей</c:v>
                </c:pt>
              </c:strCache>
            </c:strRef>
          </c:cat>
          <c:val>
            <c:numRef>
              <c:f>Лист1!$D$2</c:f>
              <c:numCache>
                <c:formatCode>_-* #,##0.0_р_._-;\-* #,##0.0_р_._-;_-* "-"??_р_._-;_-@_-</c:formatCode>
                <c:ptCount val="1"/>
                <c:pt idx="0">
                  <c:v>0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Подпрограмма "Доступная среда для инвалидов и других маломобильных групп населения" на 2017 - 2020 годы</c:v>
                </c:pt>
              </c:strCache>
            </c:strRef>
          </c:tx>
          <c:spPr>
            <a:solidFill>
              <a:srgbClr val="7030A0"/>
            </a:solidFill>
            <a:scene3d>
              <a:camera prst="orthographicFront"/>
              <a:lightRig rig="threePt" dir="t"/>
            </a:scene3d>
            <a:sp3d>
              <a:bevelT w="63500"/>
            </a:sp3d>
          </c:spPr>
          <c:dLbls>
            <c:dLbl>
              <c:idx val="0"/>
              <c:layout>
                <c:manualLayout>
                  <c:x val="2.5073746312684421E-2"/>
                  <c:y val="-5.9950422863808805E-2"/>
                </c:manualLayout>
              </c:layout>
              <c:showVal val="1"/>
            </c:dLbl>
            <c:dLbl>
              <c:idx val="1"/>
              <c:layout>
                <c:manualLayout>
                  <c:x val="1.3274336283185841E-2"/>
                  <c:y val="4.4444444444444514E-3"/>
                </c:manualLayout>
              </c:layout>
              <c:showVal val="1"/>
            </c:dLbl>
            <c:dLbl>
              <c:idx val="2"/>
              <c:layout>
                <c:manualLayout>
                  <c:x val="1.6224188790561096E-2"/>
                  <c:y val="-2.2222222222222292E-3"/>
                </c:manualLayout>
              </c:layout>
              <c:showVal val="1"/>
            </c:dLbl>
            <c:spPr>
              <a:scene3d>
                <a:camera prst="orthographicFront"/>
                <a:lightRig rig="threePt" dir="t"/>
              </a:scene3d>
              <a:sp3d>
                <a:bevelB prst="relaxedInset"/>
              </a:sp3d>
            </c:spPr>
            <c:txPr>
              <a:bodyPr/>
              <a:lstStyle/>
              <a:p>
                <a:pPr>
                  <a:defRPr sz="1200" b="1" baseline="0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Четыре  Подпрограмм - 81 377,4 тыс. рублей</c:v>
                </c:pt>
              </c:strCache>
            </c:strRef>
          </c:cat>
          <c:val>
            <c:numRef>
              <c:f>Лист1!$E$2</c:f>
              <c:numCache>
                <c:formatCode>_-* #,##0.0_р_._-;\-* #,##0.0_р_._-;_-* "-"??_р_._-;_-@_-</c:formatCode>
                <c:ptCount val="1"/>
                <c:pt idx="0">
                  <c:v>540.70000000000005</c:v>
                </c:pt>
              </c:numCache>
            </c:numRef>
          </c:val>
        </c:ser>
        <c:dLbls>
          <c:showVal val="1"/>
        </c:dLbls>
        <c:shape val="cylinder"/>
        <c:axId val="209814656"/>
        <c:axId val="209816192"/>
        <c:axId val="0"/>
      </c:bar3DChart>
      <c:catAx>
        <c:axId val="209814656"/>
        <c:scaling>
          <c:orientation val="minMax"/>
        </c:scaling>
        <c:axPos val="b"/>
        <c:tickLblPos val="nextTo"/>
        <c:txPr>
          <a:bodyPr rot="0" vert="horz"/>
          <a:lstStyle/>
          <a:p>
            <a:pPr>
              <a:defRPr sz="14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209816192"/>
        <c:crosses val="autoZero"/>
        <c:auto val="1"/>
        <c:lblAlgn val="ctr"/>
        <c:lblOffset val="100"/>
      </c:catAx>
      <c:valAx>
        <c:axId val="209816192"/>
        <c:scaling>
          <c:orientation val="minMax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 sz="1050" b="0" dirty="0" smtClean="0"/>
                  <a:t>Тыс. рублей</a:t>
                </a:r>
                <a:endParaRPr lang="ru-RU" sz="1050" b="0" dirty="0"/>
              </a:p>
            </c:rich>
          </c:tx>
          <c:layout/>
        </c:title>
        <c:numFmt formatCode="_-* #,##0.0_р_._-;\-* #,##0.0_р_._-;_-* &quot;-&quot;??_р_._-;_-@_-" sourceLinked="1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209814656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6.0497758576638104E-2"/>
          <c:y val="0.5546081219014285"/>
          <c:w val="0.66349847861937883"/>
          <c:h val="0.38023516213699077"/>
        </c:manualLayout>
      </c:layout>
      <c:txPr>
        <a:bodyPr/>
        <a:lstStyle/>
        <a:p>
          <a:pPr>
            <a:defRPr sz="1100" baseline="0">
              <a:latin typeface="Times New Roman" pitchFamily="18" charset="0"/>
              <a:cs typeface="Times New Roman" pitchFamily="18" charset="0"/>
            </a:defRPr>
          </a:pPr>
          <a:endParaRPr lang="ru-RU"/>
        </a:p>
      </c:txPr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0.14457726523122671"/>
          <c:y val="5.8779715035620544E-2"/>
          <c:w val="0.5895123415424065"/>
          <c:h val="0.71375049709695382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Подпрограмма "Обеспечение исполнения полномочий на 2015 - 2019 годы"</c:v>
                </c:pt>
              </c:strCache>
            </c:strRef>
          </c:tx>
          <c:spPr>
            <a:solidFill>
              <a:schemeClr val="bg2">
                <a:lumMod val="75000"/>
              </a:schemeClr>
            </a:solidFill>
            <a:scene3d>
              <a:camera prst="orthographicFront"/>
              <a:lightRig rig="threePt" dir="t"/>
            </a:scene3d>
            <a:sp3d>
              <a:bevelT w="107950"/>
              <a:bevelB h="63500"/>
            </a:sp3d>
          </c:spPr>
          <c:dLbls>
            <c:dLbl>
              <c:idx val="0"/>
              <c:layout>
                <c:manualLayout>
                  <c:x val="3.1323584551930989E-2"/>
                  <c:y val="-6.9758978298444421E-2"/>
                </c:manualLayout>
              </c:layout>
              <c:showVal val="1"/>
            </c:dLbl>
            <c:dLbl>
              <c:idx val="1"/>
              <c:layout>
                <c:manualLayout>
                  <c:x val="1.4293525809273861E-3"/>
                  <c:y val="-1.8185135394661333E-2"/>
                </c:manualLayout>
              </c:layout>
              <c:showVal val="1"/>
            </c:dLbl>
            <c:dLbl>
              <c:idx val="2"/>
              <c:layout>
                <c:manualLayout>
                  <c:x val="8.5123734533183344E-3"/>
                  <c:y val="-1.8185135394661333E-2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Две Подпрограммы - 63 564,3 тыс. рублей</c:v>
                </c:pt>
              </c:strCache>
            </c:strRef>
          </c:cat>
          <c:val>
            <c:numRef>
              <c:f>Лист1!$B$2</c:f>
              <c:numCache>
                <c:formatCode>_-* #,##0.0_р_._-;\-* #,##0.0_р_._-;_-* "-"??_р_._-;_-@_-</c:formatCode>
                <c:ptCount val="1"/>
                <c:pt idx="0">
                  <c:v>62864.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дпрограмма "Улучшение условий труда" на 2015 - 2019 годы</c:v>
                </c:pt>
              </c:strCache>
            </c:strRef>
          </c:tx>
          <c:spPr>
            <a:solidFill>
              <a:srgbClr val="7030A0"/>
            </a:solidFill>
            <a:scene3d>
              <a:camera prst="orthographicFront"/>
              <a:lightRig rig="threePt" dir="t"/>
            </a:scene3d>
            <a:sp3d>
              <a:bevelT w="127000"/>
              <a:bevelB w="127000"/>
            </a:sp3d>
          </c:spPr>
          <c:dLbls>
            <c:dLbl>
              <c:idx val="0"/>
              <c:layout>
                <c:manualLayout>
                  <c:x val="3.2742000999875016E-2"/>
                  <c:y val="-0.10307758786249265"/>
                </c:manualLayout>
              </c:layout>
              <c:showVal val="1"/>
            </c:dLbl>
            <c:dLbl>
              <c:idx val="1"/>
              <c:layout>
                <c:manualLayout>
                  <c:x val="2.2760436195475572E-2"/>
                  <c:y val="-1.2946994430574219E-2"/>
                </c:manualLayout>
              </c:layout>
              <c:showVal val="1"/>
            </c:dLbl>
            <c:dLbl>
              <c:idx val="2"/>
              <c:layout>
                <c:manualLayout>
                  <c:x val="2.9802524684414456E-2"/>
                  <c:y val="-1.087222328916221E-2"/>
                </c:manualLayout>
              </c:layout>
              <c:showVal val="1"/>
            </c:dLbl>
            <c:spPr>
              <a:scene3d>
                <a:camera prst="orthographicFront"/>
                <a:lightRig rig="threePt" dir="t"/>
              </a:scene3d>
              <a:sp3d>
                <a:bevelT w="6350"/>
              </a:sp3d>
            </c:spPr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Две Подпрограммы - 63 564,3 тыс. рублей</c:v>
                </c:pt>
              </c:strCache>
            </c:strRef>
          </c:cat>
          <c:val>
            <c:numRef>
              <c:f>Лист1!$C$2</c:f>
              <c:numCache>
                <c:formatCode>_-* #,##0.0_р_._-;\-* #,##0.0_р_._-;_-* "-"??_р_._-;_-@_-</c:formatCode>
                <c:ptCount val="1"/>
                <c:pt idx="0">
                  <c:v>700.2</c:v>
                </c:pt>
              </c:numCache>
            </c:numRef>
          </c:val>
        </c:ser>
        <c:dLbls>
          <c:showVal val="1"/>
        </c:dLbls>
        <c:shape val="cylinder"/>
        <c:axId val="211194240"/>
        <c:axId val="211195776"/>
        <c:axId val="0"/>
      </c:bar3DChart>
      <c:catAx>
        <c:axId val="211194240"/>
        <c:scaling>
          <c:orientation val="minMax"/>
        </c:scaling>
        <c:axPos val="b"/>
        <c:tickLblPos val="nextTo"/>
        <c:txPr>
          <a:bodyPr rot="0" vert="horz"/>
          <a:lstStyle/>
          <a:p>
            <a:pPr>
              <a:defRPr sz="11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211195776"/>
        <c:crosses val="autoZero"/>
        <c:auto val="1"/>
        <c:lblAlgn val="ctr"/>
        <c:lblOffset val="100"/>
      </c:catAx>
      <c:valAx>
        <c:axId val="211195776"/>
        <c:scaling>
          <c:orientation val="minMax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 sz="1050" b="0" dirty="0" smtClean="0"/>
                  <a:t>Тыс. рублей</a:t>
                </a:r>
                <a:endParaRPr lang="ru-RU" sz="1050" b="0" dirty="0"/>
              </a:p>
            </c:rich>
          </c:tx>
          <c:layout>
            <c:manualLayout>
              <c:xMode val="edge"/>
              <c:yMode val="edge"/>
              <c:x val="1.6745105137720127E-3"/>
              <c:y val="0.24036214223222377"/>
            </c:manualLayout>
          </c:layout>
        </c:title>
        <c:numFmt formatCode="_-* #,##0.0_р_._-;\-* #,##0.0_р_._-;_-* &quot;-&quot;??_р_._-;_-@_-" sourceLinked="1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21119424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1106844936462155"/>
          <c:y val="5.9327527240913648E-2"/>
          <c:w val="0.26839232348431691"/>
          <c:h val="0.85104191521514738"/>
        </c:manualLayout>
      </c:layout>
      <c:spPr>
        <a:ln w="9525"/>
      </c:spPr>
      <c:txPr>
        <a:bodyPr/>
        <a:lstStyle/>
        <a:p>
          <a:pPr>
            <a:defRPr sz="1200" baseline="0">
              <a:latin typeface="Times New Roman" pitchFamily="18" charset="0"/>
              <a:cs typeface="Times New Roman" pitchFamily="18" charset="0"/>
            </a:defRPr>
          </a:pPr>
          <a:endParaRPr lang="ru-RU"/>
        </a:p>
      </c:txPr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>
        <c:manualLayout>
          <c:layoutTarget val="inner"/>
          <c:xMode val="edge"/>
          <c:yMode val="edge"/>
          <c:x val="1.6666666666666701E-2"/>
          <c:y val="0"/>
          <c:w val="0.98333333333333328"/>
          <c:h val="0.85657407407408714"/>
        </c:manualLayout>
      </c:layout>
      <c:bar3DChart>
        <c:barDir val="col"/>
        <c:grouping val="stacked"/>
        <c:ser>
          <c:idx val="0"/>
          <c:order val="0"/>
          <c:spPr>
            <a:blipFill>
              <a:blip xmlns:r="http://schemas.openxmlformats.org/officeDocument/2006/relationships" r:embed="rId1"/>
              <a:tile tx="0" ty="0" sx="100000" sy="100000" flip="none" algn="tl"/>
            </a:blipFill>
          </c:spPr>
          <c:dLbls>
            <c:dLbl>
              <c:idx val="0"/>
              <c:layout>
                <c:manualLayout>
                  <c:x val="2.4606590842811315E-2"/>
                  <c:y val="-0.29441500100949086"/>
                </c:manualLayout>
              </c:layout>
              <c:showVal val="1"/>
            </c:dLbl>
            <c:dLbl>
              <c:idx val="1"/>
              <c:layout>
                <c:manualLayout>
                  <c:x val="1.7999416739574219E-2"/>
                  <c:y val="-0.28809660811629317"/>
                </c:manualLayout>
              </c:layout>
              <c:showVal val="1"/>
            </c:dLbl>
            <c:dLbl>
              <c:idx val="2"/>
              <c:layout>
                <c:manualLayout>
                  <c:x val="2.0082239720035002E-2"/>
                  <c:y val="-0.42020240258429237"/>
                </c:manualLayout>
              </c:layout>
              <c:showVal val="1"/>
            </c:dLbl>
            <c:dLbl>
              <c:idx val="3"/>
              <c:layout>
                <c:manualLayout>
                  <c:x val="1.7357830271216103E-2"/>
                  <c:y val="-0.37167454068242017"/>
                </c:manualLayout>
              </c:layout>
              <c:showVal val="1"/>
            </c:dLbl>
            <c:dLbl>
              <c:idx val="4"/>
              <c:layout>
                <c:manualLayout>
                  <c:x val="2.6414967359850009E-4"/>
                  <c:y val="-0.39223149606299212"/>
                </c:manualLayout>
              </c:layout>
              <c:showVal val="1"/>
            </c:dLbl>
            <c:txPr>
              <a:bodyPr/>
              <a:lstStyle/>
              <a:p>
                <a:pPr>
                  <a:defRPr sz="1000" b="1">
                    <a:latin typeface="Batang" pitchFamily="18" charset="-127"/>
                    <a:ea typeface="Batang" pitchFamily="18" charset="-127"/>
                  </a:defRPr>
                </a:pPr>
                <a:endParaRPr lang="ru-RU"/>
              </a:p>
            </c:txPr>
            <c:showVal val="1"/>
          </c:dLbls>
          <c:cat>
            <c:strRef>
              <c:f>Лист1!$B$13:$D$13</c:f>
              <c:strCache>
                <c:ptCount val="3"/>
                <c:pt idx="0">
                  <c:v>Факт 2016 г.   </c:v>
                </c:pt>
                <c:pt idx="1">
                  <c:v>План 2017 г.</c:v>
                </c:pt>
                <c:pt idx="2">
                  <c:v>Факт 2017 г.</c:v>
                </c:pt>
              </c:strCache>
            </c:strRef>
          </c:cat>
          <c:val>
            <c:numRef>
              <c:f>Лист1!$B$14:$D$14</c:f>
              <c:numCache>
                <c:formatCode>#,##0.0</c:formatCode>
                <c:ptCount val="3"/>
                <c:pt idx="0">
                  <c:v>27081</c:v>
                </c:pt>
                <c:pt idx="1">
                  <c:v>27105</c:v>
                </c:pt>
                <c:pt idx="2">
                  <c:v>29567</c:v>
                </c:pt>
              </c:numCache>
            </c:numRef>
          </c:val>
        </c:ser>
        <c:shape val="box"/>
        <c:axId val="220164096"/>
        <c:axId val="220197248"/>
        <c:axId val="0"/>
      </c:bar3DChart>
      <c:catAx>
        <c:axId val="220164096"/>
        <c:scaling>
          <c:orientation val="minMax"/>
        </c:scaling>
        <c:axPos val="b"/>
        <c:tickLblPos val="nextTo"/>
        <c:txPr>
          <a:bodyPr/>
          <a:lstStyle/>
          <a:p>
            <a:pPr>
              <a:defRPr baseline="0">
                <a:latin typeface="Times New Roman" pitchFamily="18" charset="0"/>
              </a:defRPr>
            </a:pPr>
            <a:endParaRPr lang="ru-RU"/>
          </a:p>
        </c:txPr>
        <c:crossAx val="220197248"/>
        <c:crosses val="autoZero"/>
        <c:auto val="1"/>
        <c:lblAlgn val="ctr"/>
        <c:lblOffset val="100"/>
      </c:catAx>
      <c:valAx>
        <c:axId val="220197248"/>
        <c:scaling>
          <c:orientation val="minMax"/>
        </c:scaling>
        <c:delete val="1"/>
        <c:axPos val="l"/>
        <c:numFmt formatCode="#,##0.0" sourceLinked="1"/>
        <c:tickLblPos val="none"/>
        <c:crossAx val="220164096"/>
        <c:crosses val="autoZero"/>
        <c:crossBetween val="between"/>
      </c:valAx>
    </c:plotArea>
    <c:plotVisOnly val="1"/>
    <c:dispBlanksAs val="gap"/>
  </c:chart>
  <c:externalData r:id="rId2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depthPercent val="100"/>
      <c:rAngAx val="1"/>
    </c:view3D>
    <c:plotArea>
      <c:layout>
        <c:manualLayout>
          <c:layoutTarget val="inner"/>
          <c:xMode val="edge"/>
          <c:yMode val="edge"/>
          <c:x val="8.6658107953897265E-2"/>
          <c:y val="5.8779715035620544E-2"/>
          <c:w val="0.50423633458861117"/>
          <c:h val="0.61331758530183556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Подпрограмма "Совершенствование системы учета и содержание объектов муниципальной собственности муниципального образования "Тайшетский район"</c:v>
                </c:pt>
              </c:strCache>
            </c:strRef>
          </c:tx>
          <c:spPr>
            <a:solidFill>
              <a:schemeClr val="bg2">
                <a:lumMod val="75000"/>
              </a:schemeClr>
            </a:solidFill>
            <a:scene3d>
              <a:camera prst="orthographicFront"/>
              <a:lightRig rig="threePt" dir="t"/>
            </a:scene3d>
            <a:sp3d>
              <a:bevelT w="63500"/>
              <a:bevelB h="63500"/>
            </a:sp3d>
          </c:spPr>
          <c:dLbls>
            <c:dLbl>
              <c:idx val="0"/>
              <c:layout>
                <c:manualLayout>
                  <c:x val="1.1016432728517643E-2"/>
                  <c:y val="-6.4932332677165389E-2"/>
                </c:manualLayout>
              </c:layout>
              <c:showVal val="1"/>
            </c:dLbl>
            <c:dLbl>
              <c:idx val="1"/>
              <c:layout>
                <c:manualLayout>
                  <c:x val="-4.5230387868183154E-3"/>
                  <c:y val="-1.412010998625172E-2"/>
                </c:manualLayout>
              </c:layout>
              <c:showVal val="1"/>
            </c:dLbl>
            <c:dLbl>
              <c:idx val="2"/>
              <c:layout>
                <c:manualLayout>
                  <c:x val="-3.3923884514435697E-3"/>
                  <c:y val="-1.412010998625168E-2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Четыре Подпрограммы - 10 669,6 тыс. рублей</c:v>
                </c:pt>
              </c:strCache>
            </c:strRef>
          </c:cat>
          <c:val>
            <c:numRef>
              <c:f>Лист1!$B$2</c:f>
              <c:numCache>
                <c:formatCode>#,##0.0</c:formatCode>
                <c:ptCount val="1"/>
                <c:pt idx="0">
                  <c:v>1759.8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одпрограмма "Исполнение полномочий в области жилищных отношений" (финансирование не предусмотрено)</c:v>
                </c:pt>
              </c:strCache>
            </c:strRef>
          </c:tx>
          <c:spPr>
            <a:solidFill>
              <a:srgbClr val="7030A0"/>
            </a:solidFill>
            <a:scene3d>
              <a:camera prst="orthographicFront"/>
              <a:lightRig rig="threePt" dir="t"/>
            </a:scene3d>
            <a:sp3d>
              <a:bevelT w="127000"/>
              <a:bevelB w="127000"/>
            </a:sp3d>
          </c:spPr>
          <c:dLbls>
            <c:dLbl>
              <c:idx val="0"/>
              <c:layout>
                <c:manualLayout>
                  <c:x val="1.0226520597968825E-2"/>
                  <c:y val="-7.6146653543307088E-2"/>
                </c:manualLayout>
              </c:layout>
              <c:showVal val="1"/>
            </c:dLbl>
            <c:dLbl>
              <c:idx val="1"/>
              <c:layout>
                <c:manualLayout>
                  <c:x val="5.0401242948079784E-3"/>
                  <c:y val="-3.3148810944086532E-2"/>
                </c:manualLayout>
              </c:layout>
              <c:showVal val="1"/>
            </c:dLbl>
            <c:dLbl>
              <c:idx val="2"/>
              <c:layout>
                <c:manualLayout>
                  <c:x val="1.3929447677735941E-2"/>
                  <c:y val="-6.8072324292797123E-3"/>
                </c:manualLayout>
              </c:layout>
              <c:showVal val="1"/>
            </c:dLbl>
            <c:spPr>
              <a:scene3d>
                <a:camera prst="orthographicFront"/>
                <a:lightRig rig="threePt" dir="t"/>
              </a:scene3d>
              <a:sp3d>
                <a:bevelT w="6350"/>
              </a:sp3d>
            </c:spPr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Четыре Подпрограммы - 10 669,6 тыс. рублей</c:v>
                </c:pt>
              </c:strCache>
            </c:strRef>
          </c:cat>
          <c:val>
            <c:numRef>
              <c:f>Лист1!$C$2</c:f>
              <c:numCache>
                <c:formatCode>_-* #,##0.0_р_._-;\-* #,##0.0_р_._-;_-* "-"??_р_._-;_-@_-</c:formatCode>
                <c:ptCount val="1"/>
                <c:pt idx="0">
                  <c:v>0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одпрограмма "Исполнение полномочий в области земельных отношений"</c:v>
                </c:pt>
              </c:strCache>
            </c:strRef>
          </c:tx>
          <c:spPr>
            <a:scene3d>
              <a:camera prst="orthographicFront"/>
              <a:lightRig rig="threePt" dir="t"/>
            </a:scene3d>
            <a:sp3d>
              <a:bevelT/>
            </a:sp3d>
          </c:spPr>
          <c:dLbls>
            <c:dLbl>
              <c:idx val="0"/>
              <c:layout>
                <c:manualLayout>
                  <c:x val="4.2978432043820928E-3"/>
                  <c:y val="-6.6761400918635624E-2"/>
                </c:manualLayout>
              </c:layout>
              <c:showVal val="1"/>
            </c:dLbl>
            <c:dLbl>
              <c:idx val="1"/>
              <c:layout>
                <c:manualLayout>
                  <c:x val="0"/>
                  <c:y val="-3.0303030303030311E-2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Четыре Подпрограммы - 10 669,6 тыс. рублей</c:v>
                </c:pt>
              </c:strCache>
            </c:strRef>
          </c:cat>
          <c:val>
            <c:numRef>
              <c:f>Лист1!$D$2</c:f>
              <c:numCache>
                <c:formatCode>#,##0.0</c:formatCode>
                <c:ptCount val="1"/>
                <c:pt idx="0">
                  <c:v>549.9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Подпрограмма "Обеспечение реализации муниципальной программы "Повышение эффективности управления муниципальным имуществом муниципального образования "Тайшетский район" на 2016 - 2018 годы"</c:v>
                </c:pt>
              </c:strCache>
            </c:strRef>
          </c:tx>
          <c:spPr>
            <a:solidFill>
              <a:srgbClr val="FFCCFF"/>
            </a:solidFill>
          </c:spPr>
          <c:dPt>
            <c:idx val="0"/>
            <c:spPr>
              <a:solidFill>
                <a:srgbClr val="FFCCFF"/>
              </a:solidFill>
              <a:scene3d>
                <a:camera prst="orthographicFront"/>
                <a:lightRig rig="threePt" dir="t"/>
              </a:scene3d>
              <a:sp3d>
                <a:bevelT w="127000"/>
                <a:bevelB w="127000"/>
              </a:sp3d>
            </c:spPr>
          </c:dPt>
          <c:dLbls>
            <c:dLbl>
              <c:idx val="0"/>
              <c:layout>
                <c:manualLayout>
                  <c:x val="1.3043478260869691E-2"/>
                  <c:y val="-7.2767798556430993E-2"/>
                </c:manualLayout>
              </c:layout>
              <c:showVal val="1"/>
            </c:dLbl>
            <c:txPr>
              <a:bodyPr/>
              <a:lstStyle/>
              <a:p>
                <a:pPr>
                  <a:defRPr sz="1200" b="1"/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Четыре Подпрограммы - 10 669,6 тыс. рублей</c:v>
                </c:pt>
              </c:strCache>
            </c:strRef>
          </c:cat>
          <c:val>
            <c:numRef>
              <c:f>Лист1!$E$2</c:f>
              <c:numCache>
                <c:formatCode>#,##0.00</c:formatCode>
                <c:ptCount val="1"/>
                <c:pt idx="0">
                  <c:v>8359.9</c:v>
                </c:pt>
              </c:numCache>
            </c:numRef>
          </c:val>
        </c:ser>
        <c:dLbls>
          <c:showVal val="1"/>
        </c:dLbls>
        <c:shape val="cylinder"/>
        <c:axId val="217919872"/>
        <c:axId val="217921408"/>
        <c:axId val="0"/>
      </c:bar3DChart>
      <c:catAx>
        <c:axId val="217919872"/>
        <c:scaling>
          <c:orientation val="minMax"/>
        </c:scaling>
        <c:axPos val="b"/>
        <c:tickLblPos val="nextTo"/>
        <c:txPr>
          <a:bodyPr rot="0" vert="horz"/>
          <a:lstStyle/>
          <a:p>
            <a:pPr>
              <a:defRPr sz="11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217921408"/>
        <c:crosses val="autoZero"/>
        <c:auto val="1"/>
        <c:lblAlgn val="ctr"/>
        <c:lblOffset val="100"/>
      </c:catAx>
      <c:valAx>
        <c:axId val="217921408"/>
        <c:scaling>
          <c:orientation val="minMax"/>
        </c:scaling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 sz="1050" b="0" dirty="0" smtClean="0"/>
                  <a:t>Тыс. рублей</a:t>
                </a:r>
                <a:endParaRPr lang="ru-RU" sz="1050" b="0" dirty="0"/>
              </a:p>
            </c:rich>
          </c:tx>
          <c:layout>
            <c:manualLayout>
              <c:xMode val="edge"/>
              <c:yMode val="edge"/>
              <c:x val="6.3633458861120599E-3"/>
              <c:y val="0.23372440944881895"/>
            </c:manualLayout>
          </c:layout>
        </c:title>
        <c:numFmt formatCode="#,##0.0" sourceLinked="1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21791987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57408182129408103"/>
          <c:y val="3.1301263123359777E-2"/>
          <c:w val="0.41722252653200981"/>
          <c:h val="0.90614747375328164"/>
        </c:manualLayout>
      </c:layout>
      <c:txPr>
        <a:bodyPr/>
        <a:lstStyle/>
        <a:p>
          <a:pPr>
            <a:defRPr sz="1100" baseline="0">
              <a:latin typeface="Times New Roman" pitchFamily="18" charset="0"/>
              <a:cs typeface="Times New Roman" pitchFamily="18" charset="0"/>
            </a:defRPr>
          </a:pPr>
          <a:endParaRPr lang="ru-RU"/>
        </a:p>
      </c:txPr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>
        <c:manualLayout>
          <c:layoutTarget val="inner"/>
          <c:xMode val="edge"/>
          <c:yMode val="edge"/>
          <c:x val="1.6666666666666701E-2"/>
          <c:y val="0"/>
          <c:w val="0.98333333333333328"/>
          <c:h val="0.85657407407408737"/>
        </c:manualLayout>
      </c:layout>
      <c:bar3DChart>
        <c:barDir val="col"/>
        <c:grouping val="stacked"/>
        <c:ser>
          <c:idx val="0"/>
          <c:order val="0"/>
          <c:spPr>
            <a:blipFill>
              <a:blip xmlns:r="http://schemas.openxmlformats.org/officeDocument/2006/relationships" r:embed="rId1"/>
              <a:tile tx="0" ty="0" sx="100000" sy="100000" flip="none" algn="tl"/>
            </a:blipFill>
          </c:spPr>
          <c:dLbls>
            <c:dLbl>
              <c:idx val="0"/>
              <c:layout>
                <c:manualLayout>
                  <c:x val="2.5135920509936412E-2"/>
                  <c:y val="-0.26032450489143438"/>
                </c:manualLayout>
              </c:layout>
              <c:showVal val="1"/>
            </c:dLbl>
            <c:dLbl>
              <c:idx val="1"/>
              <c:layout>
                <c:manualLayout>
                  <c:x val="2.1273278340207612E-2"/>
                  <c:y val="-0.32145907897876713"/>
                </c:manualLayout>
              </c:layout>
              <c:showVal val="1"/>
            </c:dLbl>
            <c:dLbl>
              <c:idx val="2"/>
              <c:layout>
                <c:manualLayout>
                  <c:x val="1.710598675165604E-2"/>
                  <c:y val="-0.42738904795991911"/>
                </c:manualLayout>
              </c:layout>
              <c:showVal val="1"/>
            </c:dLbl>
            <c:dLbl>
              <c:idx val="3"/>
              <c:layout>
                <c:manualLayout>
                  <c:x val="1.7357830271216103E-2"/>
                  <c:y val="-0.37167454068242034"/>
                </c:manualLayout>
              </c:layout>
              <c:showVal val="1"/>
            </c:dLbl>
            <c:dLbl>
              <c:idx val="4"/>
              <c:layout>
                <c:manualLayout>
                  <c:x val="2.641496735985002E-4"/>
                  <c:y val="-0.39223149606299212"/>
                </c:manualLayout>
              </c:layout>
              <c:showVal val="1"/>
            </c:dLbl>
            <c:txPr>
              <a:bodyPr/>
              <a:lstStyle/>
              <a:p>
                <a:pPr>
                  <a:defRPr sz="1000" b="1">
                    <a:latin typeface="Batang" pitchFamily="18" charset="-127"/>
                    <a:ea typeface="Batang" pitchFamily="18" charset="-127"/>
                  </a:defRPr>
                </a:pPr>
                <a:endParaRPr lang="ru-RU"/>
              </a:p>
            </c:txPr>
            <c:showVal val="1"/>
          </c:dLbls>
          <c:cat>
            <c:strRef>
              <c:f>Лист1!$B$13:$D$13</c:f>
              <c:strCache>
                <c:ptCount val="3"/>
                <c:pt idx="0">
                  <c:v>Факт 2016 г.  </c:v>
                </c:pt>
                <c:pt idx="1">
                  <c:v>План 2017 г.</c:v>
                </c:pt>
                <c:pt idx="2">
                  <c:v>Факт 2017г.</c:v>
                </c:pt>
              </c:strCache>
            </c:strRef>
          </c:cat>
          <c:val>
            <c:numRef>
              <c:f>Лист1!$B$14:$D$14</c:f>
              <c:numCache>
                <c:formatCode>#,##0.0</c:formatCode>
                <c:ptCount val="3"/>
                <c:pt idx="0">
                  <c:v>7460.1</c:v>
                </c:pt>
                <c:pt idx="1">
                  <c:v>7436</c:v>
                </c:pt>
                <c:pt idx="2">
                  <c:v>8102.8</c:v>
                </c:pt>
              </c:numCache>
            </c:numRef>
          </c:val>
        </c:ser>
        <c:shape val="box"/>
        <c:axId val="220635520"/>
        <c:axId val="221407488"/>
        <c:axId val="0"/>
      </c:bar3DChart>
      <c:catAx>
        <c:axId val="220635520"/>
        <c:scaling>
          <c:orientation val="minMax"/>
        </c:scaling>
        <c:axPos val="b"/>
        <c:tickLblPos val="nextTo"/>
        <c:txPr>
          <a:bodyPr/>
          <a:lstStyle/>
          <a:p>
            <a:pPr>
              <a:defRPr baseline="0">
                <a:latin typeface="Times New Roman" pitchFamily="18" charset="0"/>
              </a:defRPr>
            </a:pPr>
            <a:endParaRPr lang="ru-RU"/>
          </a:p>
        </c:txPr>
        <c:crossAx val="221407488"/>
        <c:crosses val="autoZero"/>
        <c:auto val="1"/>
        <c:lblAlgn val="ctr"/>
        <c:lblOffset val="100"/>
      </c:catAx>
      <c:valAx>
        <c:axId val="221407488"/>
        <c:scaling>
          <c:orientation val="minMax"/>
        </c:scaling>
        <c:delete val="1"/>
        <c:axPos val="l"/>
        <c:numFmt formatCode="#,##0.0" sourceLinked="1"/>
        <c:tickLblPos val="none"/>
        <c:crossAx val="220635520"/>
        <c:crosses val="autoZero"/>
        <c:crossBetween val="between"/>
      </c:valAx>
    </c:plotArea>
    <c:plotVisOnly val="1"/>
    <c:dispBlanksAs val="gap"/>
  </c:chart>
  <c:externalData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>
        <c:manualLayout>
          <c:layoutTarget val="inner"/>
          <c:xMode val="edge"/>
          <c:yMode val="edge"/>
          <c:x val="2.7777777777779123E-3"/>
          <c:y val="4.6296296296297014E-3"/>
          <c:w val="0.97696106736658839"/>
          <c:h val="0.83805555555556599"/>
        </c:manualLayout>
      </c:layout>
      <c:bar3DChart>
        <c:barDir val="col"/>
        <c:grouping val="stacked"/>
        <c:ser>
          <c:idx val="0"/>
          <c:order val="0"/>
          <c:spPr>
            <a:blipFill>
              <a:blip xmlns:r="http://schemas.openxmlformats.org/officeDocument/2006/relationships" r:embed="rId1"/>
              <a:tile tx="0" ty="0" sx="100000" sy="100000" flip="none" algn="tl"/>
            </a:blipFill>
          </c:spPr>
          <c:dLbls>
            <c:dLbl>
              <c:idx val="0"/>
              <c:layout>
                <c:manualLayout>
                  <c:x val="3.1593759113444156E-2"/>
                  <c:y val="-0.43421634795650582"/>
                </c:manualLayout>
              </c:layout>
              <c:showVal val="1"/>
            </c:dLbl>
            <c:dLbl>
              <c:idx val="1"/>
              <c:layout>
                <c:manualLayout>
                  <c:x val="3.1594342373870099E-2"/>
                  <c:y val="-0.23395997375328084"/>
                </c:manualLayout>
              </c:layout>
              <c:showVal val="1"/>
            </c:dLbl>
            <c:dLbl>
              <c:idx val="2"/>
              <c:layout>
                <c:manualLayout>
                  <c:x val="2.6691746864975399E-2"/>
                  <c:y val="-0.29312523434570681"/>
                </c:manualLayout>
              </c:layout>
              <c:tx>
                <c:rich>
                  <a:bodyPr/>
                  <a:lstStyle/>
                  <a:p>
                    <a:r>
                      <a:rPr lang="en-US" sz="900" dirty="0" smtClean="0"/>
                      <a:t>1</a:t>
                    </a:r>
                    <a:r>
                      <a:rPr lang="ru-RU" sz="900" dirty="0" smtClean="0"/>
                      <a:t>09,1</a:t>
                    </a:r>
                    <a:endParaRPr lang="en-US" sz="900" dirty="0"/>
                  </a:p>
                </c:rich>
              </c:tx>
              <c:showVal val="1"/>
            </c:dLbl>
            <c:dLbl>
              <c:idx val="3"/>
              <c:layout>
                <c:manualLayout>
                  <c:x val="2.3392825896762903E-2"/>
                  <c:y val="-0.26705493709837996"/>
                </c:manualLayout>
              </c:layout>
              <c:showVal val="1"/>
            </c:dLbl>
            <c:dLbl>
              <c:idx val="4"/>
              <c:layout>
                <c:manualLayout>
                  <c:x val="1.033508311461068E-2"/>
                  <c:y val="-0.26017377138203035"/>
                </c:manualLayout>
              </c:layout>
              <c:showVal val="1"/>
            </c:dLbl>
            <c:txPr>
              <a:bodyPr/>
              <a:lstStyle/>
              <a:p>
                <a:pPr>
                  <a:defRPr sz="1000" b="1">
                    <a:latin typeface="Batang" pitchFamily="18" charset="-127"/>
                    <a:ea typeface="Batang" pitchFamily="18" charset="-127"/>
                  </a:defRPr>
                </a:pPr>
                <a:endParaRPr lang="ru-RU"/>
              </a:p>
            </c:txPr>
            <c:showVal val="1"/>
          </c:dLbls>
          <c:cat>
            <c:strRef>
              <c:f>Лист1!$B$5:$D$5</c:f>
              <c:strCache>
                <c:ptCount val="3"/>
                <c:pt idx="0">
                  <c:v>Факт 2016 г. </c:v>
                </c:pt>
                <c:pt idx="1">
                  <c:v>План 2017 г.</c:v>
                </c:pt>
                <c:pt idx="2">
                  <c:v>Факт 2017 г.</c:v>
                </c:pt>
              </c:strCache>
            </c:strRef>
          </c:cat>
          <c:val>
            <c:numRef>
              <c:f>Лист1!$B$6:$D$6</c:f>
              <c:numCache>
                <c:formatCode>General</c:formatCode>
                <c:ptCount val="3"/>
                <c:pt idx="0">
                  <c:v>120.9</c:v>
                </c:pt>
                <c:pt idx="1">
                  <c:v>104.5</c:v>
                </c:pt>
                <c:pt idx="2">
                  <c:v>109.1</c:v>
                </c:pt>
              </c:numCache>
            </c:numRef>
          </c:val>
        </c:ser>
        <c:dLbls>
          <c:showVal val="1"/>
        </c:dLbls>
        <c:gapWidth val="152"/>
        <c:gapDepth val="197"/>
        <c:shape val="box"/>
        <c:axId val="222698112"/>
        <c:axId val="222697344"/>
        <c:axId val="0"/>
      </c:bar3DChart>
      <c:catAx>
        <c:axId val="222698112"/>
        <c:scaling>
          <c:orientation val="minMax"/>
        </c:scaling>
        <c:axPos val="b"/>
        <c:tickLblPos val="nextTo"/>
        <c:txPr>
          <a:bodyPr/>
          <a:lstStyle/>
          <a:p>
            <a:pPr>
              <a:defRPr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222697344"/>
        <c:crosses val="autoZero"/>
        <c:auto val="1"/>
        <c:lblAlgn val="ctr"/>
        <c:lblOffset val="100"/>
      </c:catAx>
      <c:valAx>
        <c:axId val="222697344"/>
        <c:scaling>
          <c:orientation val="minMax"/>
        </c:scaling>
        <c:delete val="1"/>
        <c:axPos val="l"/>
        <c:numFmt formatCode="General" sourceLinked="1"/>
        <c:tickLblPos val="none"/>
        <c:crossAx val="222698112"/>
        <c:crosses val="autoZero"/>
        <c:crossBetween val="between"/>
      </c:valAx>
    </c:plotArea>
    <c:plotVisOnly val="1"/>
    <c:dispBlanksAs val="gap"/>
  </c:chart>
  <c:externalData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>
        <c:manualLayout>
          <c:layoutTarget val="inner"/>
          <c:xMode val="edge"/>
          <c:yMode val="edge"/>
          <c:x val="0.15619980314960641"/>
          <c:y val="0.20063287401574767"/>
          <c:w val="0.56780118110235756"/>
          <c:h val="0.55339296259842563"/>
        </c:manualLayout>
      </c:layout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Факт 2016г.</c:v>
                </c:pt>
              </c:strCache>
            </c:strRef>
          </c:tx>
          <c:spPr>
            <a:solidFill>
              <a:srgbClr val="CCCC00"/>
            </a:solidFill>
            <a:scene3d>
              <a:camera prst="orthographicFront"/>
              <a:lightRig rig="threePt" dir="t"/>
            </a:scene3d>
            <a:sp3d>
              <a:bevelT w="88900"/>
            </a:sp3d>
          </c:spPr>
          <c:dPt>
            <c:idx val="0"/>
            <c:spPr>
              <a:gradFill flip="none" rotWithShape="1">
                <a:gsLst>
                  <a:gs pos="0">
                    <a:srgbClr val="CCCC00">
                      <a:shade val="30000"/>
                      <a:satMod val="115000"/>
                    </a:srgbClr>
                  </a:gs>
                  <a:gs pos="50000">
                    <a:srgbClr val="CCCC00">
                      <a:shade val="67500"/>
                      <a:satMod val="115000"/>
                    </a:srgbClr>
                  </a:gs>
                  <a:gs pos="100000">
                    <a:srgbClr val="CCCC0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scene3d>
                <a:camera prst="orthographicFront"/>
                <a:lightRig rig="threePt" dir="t"/>
              </a:scene3d>
              <a:sp3d>
                <a:bevelT w="88900"/>
              </a:sp3d>
            </c:spPr>
          </c:dPt>
          <c:dPt>
            <c:idx val="1"/>
            <c:spPr>
              <a:gradFill flip="none" rotWithShape="1">
                <a:gsLst>
                  <a:gs pos="0">
                    <a:srgbClr val="CCCC00">
                      <a:shade val="30000"/>
                      <a:satMod val="115000"/>
                    </a:srgbClr>
                  </a:gs>
                  <a:gs pos="50000">
                    <a:srgbClr val="CCCC00">
                      <a:shade val="67500"/>
                      <a:satMod val="115000"/>
                    </a:srgbClr>
                  </a:gs>
                  <a:gs pos="100000">
                    <a:srgbClr val="CCCC00">
                      <a:shade val="100000"/>
                      <a:satMod val="115000"/>
                    </a:srgbClr>
                  </a:gs>
                </a:gsLst>
                <a:lin ang="16200000" scaled="1"/>
                <a:tileRect/>
              </a:gradFill>
              <a:scene3d>
                <a:camera prst="orthographicFront"/>
                <a:lightRig rig="threePt" dir="t"/>
              </a:scene3d>
              <a:sp3d>
                <a:bevelT w="88900"/>
              </a:sp3d>
            </c:spPr>
          </c:dPt>
          <c:dLbls>
            <c:dLbl>
              <c:idx val="0"/>
              <c:layout>
                <c:manualLayout>
                  <c:x val="2.083333333333358E-3"/>
                  <c:y val="0.29948252952756327"/>
                </c:manualLayout>
              </c:layout>
              <c:dLblPos val="outEnd"/>
              <c:showVal val="1"/>
            </c:dLbl>
            <c:dLbl>
              <c:idx val="1"/>
              <c:layout>
                <c:manualLayout>
                  <c:x val="-4.1666666666666683E-3"/>
                  <c:y val="0.20312499999999989"/>
                </c:manualLayout>
              </c:layout>
              <c:showVal val="1"/>
            </c:dLbl>
            <c:txPr>
              <a:bodyPr/>
              <a:lstStyle/>
              <a:p>
                <a:pPr>
                  <a:defRPr sz="1000" b="1"/>
                </a:pPr>
                <a:endParaRPr lang="ru-RU"/>
              </a:p>
            </c:txPr>
            <c:showVal val="1"/>
          </c:dLbls>
          <c:cat>
            <c:strRef>
              <c:f>Лист1!$A$2:$A$3</c:f>
              <c:strCache>
                <c:ptCount val="2"/>
                <c:pt idx="0">
                  <c:v>местные бюджеты Иркутской области</c:v>
                </c:pt>
                <c:pt idx="1">
                  <c:v>местный бюджет Тайшетского района</c:v>
                </c:pt>
              </c:strCache>
            </c:strRef>
          </c:cat>
          <c:val>
            <c:numRef>
              <c:f>Лист1!$B$2:$B$3</c:f>
              <c:numCache>
                <c:formatCode>#,##0.00</c:formatCode>
                <c:ptCount val="2"/>
                <c:pt idx="0">
                  <c:v>10500.4</c:v>
                </c:pt>
                <c:pt idx="1">
                  <c:v>8725.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Факт 2017г.</c:v>
                </c:pt>
              </c:strCache>
            </c:strRef>
          </c:tx>
          <c:spPr>
            <a:gradFill flip="none" rotWithShape="1">
              <a:gsLst>
                <a:gs pos="0">
                  <a:srgbClr val="00B050">
                    <a:shade val="30000"/>
                    <a:satMod val="115000"/>
                  </a:srgbClr>
                </a:gs>
                <a:gs pos="50000">
                  <a:srgbClr val="00B050">
                    <a:shade val="67500"/>
                    <a:satMod val="115000"/>
                  </a:srgbClr>
                </a:gs>
                <a:gs pos="100000">
                  <a:srgbClr val="00B050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scene3d>
              <a:camera prst="orthographicFront"/>
              <a:lightRig rig="threePt" dir="t"/>
            </a:scene3d>
            <a:sp3d>
              <a:bevelT w="82550"/>
            </a:sp3d>
          </c:spPr>
          <c:dLbls>
            <c:dLbl>
              <c:idx val="0"/>
              <c:layout>
                <c:manualLayout>
                  <c:x val="4.1666666666666683E-3"/>
                  <c:y val="0.24062500000000006"/>
                </c:manualLayout>
              </c:layout>
              <c:showVal val="1"/>
            </c:dLbl>
            <c:dLbl>
              <c:idx val="1"/>
              <c:layout>
                <c:manualLayout>
                  <c:x val="0"/>
                  <c:y val="0.17812500000000001"/>
                </c:manualLayout>
              </c:layout>
              <c:showVal val="1"/>
            </c:dLbl>
            <c:txPr>
              <a:bodyPr/>
              <a:lstStyle/>
              <a:p>
                <a:pPr>
                  <a:defRPr sz="1000" b="1"/>
                </a:pPr>
                <a:endParaRPr lang="ru-RU"/>
              </a:p>
            </c:txPr>
            <c:showVal val="1"/>
          </c:dLbls>
          <c:cat>
            <c:strRef>
              <c:f>Лист1!$A$2:$A$3</c:f>
              <c:strCache>
                <c:ptCount val="2"/>
                <c:pt idx="0">
                  <c:v>местные бюджеты Иркутской области</c:v>
                </c:pt>
                <c:pt idx="1">
                  <c:v>местный бюджет Тайшетского района</c:v>
                </c:pt>
              </c:strCache>
            </c:strRef>
          </c:cat>
          <c:val>
            <c:numRef>
              <c:f>Лист1!$C$2:$C$3</c:f>
              <c:numCache>
                <c:formatCode>#,##0.00</c:formatCode>
                <c:ptCount val="2"/>
                <c:pt idx="0">
                  <c:v>11545.8</c:v>
                </c:pt>
                <c:pt idx="1">
                  <c:v>9696</c:v>
                </c:pt>
              </c:numCache>
            </c:numRef>
          </c:val>
        </c:ser>
        <c:axId val="114931200"/>
        <c:axId val="114932736"/>
      </c:barChart>
      <c:catAx>
        <c:axId val="114931200"/>
        <c:scaling>
          <c:orientation val="minMax"/>
        </c:scaling>
        <c:axPos val="b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114932736"/>
        <c:crosses val="autoZero"/>
        <c:auto val="1"/>
        <c:lblAlgn val="ctr"/>
        <c:lblOffset val="100"/>
      </c:catAx>
      <c:valAx>
        <c:axId val="114932736"/>
        <c:scaling>
          <c:orientation val="minMax"/>
        </c:scaling>
        <c:axPos val="l"/>
        <c:majorGridlines/>
        <c:numFmt formatCode="#,##0.00" sourceLinked="1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114931200"/>
        <c:crosses val="autoZero"/>
        <c:crossBetween val="between"/>
      </c:valAx>
      <c:spPr>
        <a:noFill/>
      </c:spPr>
    </c:plotArea>
    <c:legend>
      <c:legendPos val="r"/>
      <c:layout>
        <c:manualLayout>
          <c:xMode val="edge"/>
          <c:yMode val="edge"/>
          <c:x val="0.72464993438321257"/>
          <c:y val="0.26117962598425615"/>
          <c:w val="0.26285006561679786"/>
          <c:h val="0.41514074803149603"/>
        </c:manualLayout>
      </c:layout>
      <c:txPr>
        <a:bodyPr/>
        <a:lstStyle/>
        <a:p>
          <a:pPr>
            <a:defRPr sz="1400"/>
          </a:pPr>
          <a:endParaRPr lang="ru-RU"/>
        </a:p>
      </c:txPr>
    </c:legend>
    <c:plotVisOnly val="1"/>
  </c:chart>
  <c:spPr>
    <a:noFill/>
  </c:spPr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/>
      <c:barChart>
        <c:barDir val="bar"/>
        <c:grouping val="percent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Образование</c:v>
                </c:pt>
              </c:strCache>
            </c:strRef>
          </c:tx>
          <c:spPr>
            <a:solidFill>
              <a:srgbClr val="FF66FF"/>
            </a:solidFill>
          </c:spPr>
          <c:dLbls>
            <c:numFmt formatCode="#,##0.0" sourceLinked="0"/>
            <c:txPr>
              <a:bodyPr/>
              <a:lstStyle/>
              <a:p>
                <a:pPr>
                  <a:defRPr sz="1000" b="1"/>
                </a:pPr>
                <a:endParaRPr lang="ru-RU"/>
              </a:p>
            </c:txPr>
            <c:showVal val="1"/>
          </c:dLbls>
          <c:cat>
            <c:strRef>
              <c:f>Лист1!$A$2:$A$3</c:f>
              <c:strCache>
                <c:ptCount val="2"/>
                <c:pt idx="0">
                  <c:v>расходы на душу населения </c:v>
                </c:pt>
                <c:pt idx="1">
                  <c:v>Общая сумма расходов, млн. рублей</c:v>
                </c:pt>
              </c:strCache>
            </c:strRef>
          </c:cat>
          <c:val>
            <c:numRef>
              <c:f>Лист1!$B$2:$B$3</c:f>
              <c:numCache>
                <c:formatCode>#,##0.0</c:formatCode>
                <c:ptCount val="2"/>
                <c:pt idx="0" formatCode="General">
                  <c:v>18.100000000000001</c:v>
                </c:pt>
                <c:pt idx="1">
                  <c:v>1340.7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Культура, кинематография</c:v>
                </c:pt>
              </c:strCache>
            </c:strRef>
          </c:tx>
          <c:spPr>
            <a:solidFill>
              <a:srgbClr val="66FFFF"/>
            </a:solidFill>
          </c:spPr>
          <c:dLbls>
            <c:dLbl>
              <c:idx val="1"/>
              <c:layout>
                <c:manualLayout>
                  <c:x val="-1.5151515151515271E-3"/>
                  <c:y val="2.0833333333333412E-2"/>
                </c:manualLayout>
              </c:layout>
              <c:showVal val="1"/>
            </c:dLbl>
            <c:txPr>
              <a:bodyPr/>
              <a:lstStyle/>
              <a:p>
                <a:pPr>
                  <a:defRPr sz="1000" b="1"/>
                </a:pPr>
                <a:endParaRPr lang="ru-RU"/>
              </a:p>
            </c:txPr>
            <c:showVal val="1"/>
          </c:dLbls>
          <c:cat>
            <c:strRef>
              <c:f>Лист1!$A$2:$A$3</c:f>
              <c:strCache>
                <c:ptCount val="2"/>
                <c:pt idx="0">
                  <c:v>расходы на душу населения </c:v>
                </c:pt>
                <c:pt idx="1">
                  <c:v>Общая сумма расходов, млн. рублей</c:v>
                </c:pt>
              </c:strCache>
            </c:strRef>
          </c:cat>
          <c:val>
            <c:numRef>
              <c:f>Лист1!$C$2:$C$3</c:f>
              <c:numCache>
                <c:formatCode>General</c:formatCode>
                <c:ptCount val="2"/>
                <c:pt idx="0">
                  <c:v>1.5</c:v>
                </c:pt>
                <c:pt idx="1">
                  <c:v>114.7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оциальная политика</c:v>
                </c:pt>
              </c:strCache>
            </c:strRef>
          </c:tx>
          <c:spPr>
            <a:solidFill>
              <a:srgbClr val="92D050"/>
            </a:solidFill>
          </c:spPr>
          <c:dLbls>
            <c:dLbl>
              <c:idx val="1"/>
              <c:layout>
                <c:manualLayout>
                  <c:x val="-1.1930326879845964E-7"/>
                  <c:y val="2.0833333333333412E-2"/>
                </c:manualLayout>
              </c:layout>
              <c:showVal val="1"/>
            </c:dLbl>
            <c:txPr>
              <a:bodyPr/>
              <a:lstStyle/>
              <a:p>
                <a:pPr>
                  <a:defRPr sz="1000" b="1"/>
                </a:pPr>
                <a:endParaRPr lang="ru-RU"/>
              </a:p>
            </c:txPr>
            <c:showVal val="1"/>
          </c:dLbls>
          <c:cat>
            <c:strRef>
              <c:f>Лист1!$A$2:$A$3</c:f>
              <c:strCache>
                <c:ptCount val="2"/>
                <c:pt idx="0">
                  <c:v>расходы на душу населения </c:v>
                </c:pt>
                <c:pt idx="1">
                  <c:v>Общая сумма расходов, млн. рублей</c:v>
                </c:pt>
              </c:strCache>
            </c:strRef>
          </c:cat>
          <c:val>
            <c:numRef>
              <c:f>Лист1!$D$2:$D$3</c:f>
              <c:numCache>
                <c:formatCode>General</c:formatCode>
                <c:ptCount val="2"/>
                <c:pt idx="0">
                  <c:v>1.5</c:v>
                </c:pt>
                <c:pt idx="1">
                  <c:v>112.4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Физическая культура и спорт</c:v>
                </c:pt>
              </c:strCache>
            </c:strRef>
          </c:tx>
          <c:spPr>
            <a:solidFill>
              <a:srgbClr val="7030A0"/>
            </a:solidFill>
          </c:spPr>
          <c:dLbls>
            <c:dLbl>
              <c:idx val="0"/>
              <c:layout>
                <c:manualLayout>
                  <c:x val="3.9264256740634697E-2"/>
                  <c:y val="-0.1111114476075106"/>
                </c:manualLayout>
              </c:layout>
              <c:showVal val="1"/>
            </c:dLbl>
            <c:dLbl>
              <c:idx val="1"/>
              <c:layout>
                <c:manualLayout>
                  <c:x val="2.1690527320448582E-3"/>
                  <c:y val="-0.10416666666666734"/>
                </c:manualLayout>
              </c:layout>
              <c:showVal val="1"/>
            </c:dLbl>
            <c:txPr>
              <a:bodyPr/>
              <a:lstStyle/>
              <a:p>
                <a:pPr>
                  <a:defRPr sz="1000" b="1"/>
                </a:pPr>
                <a:endParaRPr lang="ru-RU"/>
              </a:p>
            </c:txPr>
            <c:showVal val="1"/>
          </c:dLbls>
          <c:cat>
            <c:strRef>
              <c:f>Лист1!$A$2:$A$3</c:f>
              <c:strCache>
                <c:ptCount val="2"/>
                <c:pt idx="0">
                  <c:v>расходы на душу населения </c:v>
                </c:pt>
                <c:pt idx="1">
                  <c:v>Общая сумма расходов, млн. рублей</c:v>
                </c:pt>
              </c:strCache>
            </c:strRef>
          </c:cat>
          <c:val>
            <c:numRef>
              <c:f>Лист1!$E$2:$E$3</c:f>
              <c:numCache>
                <c:formatCode>General</c:formatCode>
                <c:ptCount val="2"/>
                <c:pt idx="0">
                  <c:v>0.60000000000000064</c:v>
                </c:pt>
                <c:pt idx="1">
                  <c:v>4.2</c:v>
                </c:pt>
              </c:numCache>
            </c:numRef>
          </c:val>
        </c:ser>
        <c:overlap val="100"/>
        <c:axId val="164615680"/>
        <c:axId val="164617216"/>
      </c:barChart>
      <c:catAx>
        <c:axId val="164615680"/>
        <c:scaling>
          <c:orientation val="minMax"/>
        </c:scaling>
        <c:axPos val="l"/>
        <c:tickLblPos val="nextTo"/>
        <c:txPr>
          <a:bodyPr/>
          <a:lstStyle/>
          <a:p>
            <a:pPr>
              <a:defRPr sz="1200" baseline="0"/>
            </a:pPr>
            <a:endParaRPr lang="ru-RU"/>
          </a:p>
        </c:txPr>
        <c:crossAx val="164617216"/>
        <c:crosses val="autoZero"/>
        <c:auto val="1"/>
        <c:lblAlgn val="ctr"/>
        <c:lblOffset val="100"/>
      </c:catAx>
      <c:valAx>
        <c:axId val="164617216"/>
        <c:scaling>
          <c:orientation val="minMax"/>
        </c:scaling>
        <c:axPos val="b"/>
        <c:majorGridlines/>
        <c:numFmt formatCode="0%" sourceLinked="1"/>
        <c:tickLblPos val="none"/>
        <c:crossAx val="164615680"/>
        <c:crosses val="autoZero"/>
        <c:crossBetween val="between"/>
      </c:valAx>
      <c:spPr>
        <a:ln>
          <a:noFill/>
        </a:ln>
      </c:spPr>
    </c:plotArea>
    <c:legend>
      <c:legendPos val="b"/>
      <c:layout/>
      <c:txPr>
        <a:bodyPr/>
        <a:lstStyle/>
        <a:p>
          <a:pPr>
            <a:defRPr sz="1300" baseline="0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/>
      <c:barChart>
        <c:barDir val="bar"/>
        <c:grouping val="percent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Национальная экономика</c:v>
                </c:pt>
              </c:strCache>
            </c:strRef>
          </c:tx>
          <c:spPr>
            <a:solidFill>
              <a:srgbClr val="CCCC00"/>
            </a:solidFill>
          </c:spPr>
          <c:dLbls>
            <c:numFmt formatCode="#,##0.0" sourceLinked="0"/>
            <c:txPr>
              <a:bodyPr/>
              <a:lstStyle/>
              <a:p>
                <a:pPr>
                  <a:defRPr sz="1000" b="1"/>
                </a:pPr>
                <a:endParaRPr lang="ru-RU"/>
              </a:p>
            </c:txPr>
            <c:showVal val="1"/>
          </c:dLbls>
          <c:cat>
            <c:strRef>
              <c:f>Лист1!$A$2:$A$3</c:f>
              <c:strCache>
                <c:ptCount val="2"/>
                <c:pt idx="0">
                  <c:v>расходы на душу населения </c:v>
                </c:pt>
                <c:pt idx="1">
                  <c:v>Общая сумма расходов, млн. рублей</c:v>
                </c:pt>
              </c:strCache>
            </c:strRef>
          </c:cat>
          <c:val>
            <c:numRef>
              <c:f>Лист1!$B$2:$B$3</c:f>
              <c:numCache>
                <c:formatCode>#,##0.0</c:formatCode>
                <c:ptCount val="2"/>
                <c:pt idx="0" formatCode="General">
                  <c:v>1.2</c:v>
                </c:pt>
                <c:pt idx="1">
                  <c:v>85.6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Жилищно-коммунальное хозяйство</c:v>
                </c:pt>
              </c:strCache>
            </c:strRef>
          </c:tx>
          <c:spPr>
            <a:solidFill>
              <a:srgbClr val="00B0F0"/>
            </a:solidFill>
          </c:spPr>
          <c:dLbls>
            <c:dLbl>
              <c:idx val="1"/>
              <c:layout>
                <c:manualLayout>
                  <c:x val="-1.5151515151515275E-3"/>
                  <c:y val="2.0833333333333412E-2"/>
                </c:manualLayout>
              </c:layout>
              <c:showVal val="1"/>
            </c:dLbl>
            <c:numFmt formatCode="#,##0.0" sourceLinked="0"/>
            <c:txPr>
              <a:bodyPr/>
              <a:lstStyle/>
              <a:p>
                <a:pPr>
                  <a:defRPr sz="1000" b="1"/>
                </a:pPr>
                <a:endParaRPr lang="ru-RU"/>
              </a:p>
            </c:txPr>
            <c:showVal val="1"/>
          </c:dLbls>
          <c:cat>
            <c:strRef>
              <c:f>Лист1!$A$2:$A$3</c:f>
              <c:strCache>
                <c:ptCount val="2"/>
                <c:pt idx="0">
                  <c:v>расходы на душу населения </c:v>
                </c:pt>
                <c:pt idx="1">
                  <c:v>Общая сумма расходов, млн. рублей</c:v>
                </c:pt>
              </c:strCache>
            </c:strRef>
          </c:cat>
          <c:val>
            <c:numRef>
              <c:f>Лист1!$C$2:$C$3</c:f>
              <c:numCache>
                <c:formatCode>General</c:formatCode>
                <c:ptCount val="2"/>
                <c:pt idx="0">
                  <c:v>5.0999999999999996</c:v>
                </c:pt>
                <c:pt idx="1">
                  <c:v>379.5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Общегосударственные расходы</c:v>
                </c:pt>
              </c:strCache>
            </c:strRef>
          </c:tx>
          <c:spPr>
            <a:solidFill>
              <a:srgbClr val="CC9900"/>
            </a:solidFill>
          </c:spPr>
          <c:dLbls>
            <c:dLbl>
              <c:idx val="1"/>
              <c:layout>
                <c:manualLayout>
                  <c:x val="-1.193032687984597E-7"/>
                  <c:y val="2.0833333333333412E-2"/>
                </c:manualLayout>
              </c:layout>
              <c:showVal val="1"/>
            </c:dLbl>
            <c:numFmt formatCode="#,##0.0" sourceLinked="0"/>
            <c:txPr>
              <a:bodyPr/>
              <a:lstStyle/>
              <a:p>
                <a:pPr>
                  <a:defRPr sz="1000" b="1"/>
                </a:pPr>
                <a:endParaRPr lang="ru-RU"/>
              </a:p>
            </c:txPr>
            <c:showVal val="1"/>
          </c:dLbls>
          <c:cat>
            <c:strRef>
              <c:f>Лист1!$A$2:$A$3</c:f>
              <c:strCache>
                <c:ptCount val="2"/>
                <c:pt idx="0">
                  <c:v>расходы на душу населения </c:v>
                </c:pt>
                <c:pt idx="1">
                  <c:v>Общая сумма расходов, млн. рублей</c:v>
                </c:pt>
              </c:strCache>
            </c:strRef>
          </c:cat>
          <c:val>
            <c:numRef>
              <c:f>Лист1!$D$2:$D$3</c:f>
              <c:numCache>
                <c:formatCode>0.0</c:formatCode>
                <c:ptCount val="2"/>
                <c:pt idx="0" formatCode="General">
                  <c:v>3.8</c:v>
                </c:pt>
                <c:pt idx="1">
                  <c:v>282.2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Прочие расходы</c:v>
                </c:pt>
              </c:strCache>
            </c:strRef>
          </c:tx>
          <c:spPr>
            <a:solidFill>
              <a:srgbClr val="333399"/>
            </a:solidFill>
          </c:spPr>
          <c:dLbls>
            <c:dLbl>
              <c:idx val="0"/>
              <c:layout>
                <c:manualLayout>
                  <c:x val="9.9010975900740567E-3"/>
                  <c:y val="-0.11111165791776025"/>
                </c:manualLayout>
              </c:layout>
              <c:showVal val="1"/>
            </c:dLbl>
            <c:dLbl>
              <c:idx val="1"/>
              <c:layout>
                <c:manualLayout>
                  <c:x val="2.1690527320448582E-3"/>
                  <c:y val="-0.10416666666666739"/>
                </c:manualLayout>
              </c:layout>
              <c:showVal val="1"/>
            </c:dLbl>
            <c:numFmt formatCode="#,##0.0" sourceLinked="0"/>
            <c:txPr>
              <a:bodyPr/>
              <a:lstStyle/>
              <a:p>
                <a:pPr>
                  <a:defRPr sz="1000" b="1"/>
                </a:pPr>
                <a:endParaRPr lang="ru-RU"/>
              </a:p>
            </c:txPr>
            <c:showVal val="1"/>
          </c:dLbls>
          <c:cat>
            <c:strRef>
              <c:f>Лист1!$A$2:$A$3</c:f>
              <c:strCache>
                <c:ptCount val="2"/>
                <c:pt idx="0">
                  <c:v>расходы на душу населения </c:v>
                </c:pt>
                <c:pt idx="1">
                  <c:v>Общая сумма расходов, млн. рублей</c:v>
                </c:pt>
              </c:strCache>
            </c:strRef>
          </c:cat>
          <c:val>
            <c:numRef>
              <c:f>Лист1!$E$2:$E$3</c:f>
              <c:numCache>
                <c:formatCode>General</c:formatCode>
                <c:ptCount val="2"/>
                <c:pt idx="0">
                  <c:v>0.1</c:v>
                </c:pt>
                <c:pt idx="1">
                  <c:v>7.2</c:v>
                </c:pt>
              </c:numCache>
            </c:numRef>
          </c:val>
        </c:ser>
        <c:overlap val="100"/>
        <c:axId val="167991552"/>
        <c:axId val="168022016"/>
      </c:barChart>
      <c:catAx>
        <c:axId val="167991552"/>
        <c:scaling>
          <c:orientation val="minMax"/>
        </c:scaling>
        <c:axPos val="l"/>
        <c:tickLblPos val="nextTo"/>
        <c:txPr>
          <a:bodyPr/>
          <a:lstStyle/>
          <a:p>
            <a:pPr>
              <a:defRPr sz="1200" baseline="0"/>
            </a:pPr>
            <a:endParaRPr lang="ru-RU"/>
          </a:p>
        </c:txPr>
        <c:crossAx val="168022016"/>
        <c:crosses val="autoZero"/>
        <c:auto val="1"/>
        <c:lblAlgn val="ctr"/>
        <c:lblOffset val="100"/>
      </c:catAx>
      <c:valAx>
        <c:axId val="168022016"/>
        <c:scaling>
          <c:orientation val="minMax"/>
        </c:scaling>
        <c:axPos val="b"/>
        <c:majorGridlines/>
        <c:numFmt formatCode="0%" sourceLinked="1"/>
        <c:tickLblPos val="none"/>
        <c:crossAx val="167991552"/>
        <c:crosses val="autoZero"/>
        <c:crossBetween val="between"/>
      </c:valAx>
    </c:plotArea>
    <c:legend>
      <c:legendPos val="b"/>
      <c:layout/>
      <c:txPr>
        <a:bodyPr/>
        <a:lstStyle/>
        <a:p>
          <a:pPr>
            <a:defRPr sz="1300" baseline="0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depthPercent val="80"/>
      <c:rAngAx val="1"/>
    </c:view3D>
    <c:sideWall>
      <c:spPr>
        <a:noFill/>
        <a:ln w="3175">
          <a:solidFill>
            <a:srgbClr val="E1DFD3"/>
          </a:solidFill>
        </a:ln>
        <a:scene3d>
          <a:camera prst="orthographicFront"/>
          <a:lightRig rig="threePt" dir="t"/>
        </a:scene3d>
        <a:sp3d>
          <a:bevelT/>
        </a:sp3d>
      </c:spPr>
    </c:sideWall>
    <c:backWall>
      <c:spPr>
        <a:noFill/>
        <a:ln w="25400">
          <a:noFill/>
        </a:ln>
        <a:scene3d>
          <a:camera prst="orthographicFront"/>
          <a:lightRig rig="threePt" dir="t"/>
        </a:scene3d>
        <a:sp3d>
          <a:bevelT/>
        </a:sp3d>
      </c:spPr>
    </c:backWall>
    <c:plotArea>
      <c:layout>
        <c:manualLayout>
          <c:layoutTarget val="inner"/>
          <c:xMode val="edge"/>
          <c:yMode val="edge"/>
          <c:x val="0.17878536016331423"/>
          <c:y val="3.4430383668794216E-2"/>
          <c:w val="0.77309797340906738"/>
          <c:h val="0.71444957967210665"/>
        </c:manualLayout>
      </c:layout>
      <c:bar3D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Налоговые и неналоговые доходы</c:v>
                </c:pt>
              </c:strCache>
            </c:strRef>
          </c:tx>
          <c:spPr>
            <a:solidFill>
              <a:srgbClr val="66FFFF"/>
            </a:solidFill>
          </c:spPr>
          <c:dLbls>
            <c:dLbl>
              <c:idx val="0"/>
              <c:layout>
                <c:manualLayout>
                  <c:x val="1.0802469135802595E-2"/>
                  <c:y val="-7.0267636999921433E-3"/>
                </c:manualLayout>
              </c:layout>
              <c:spPr>
                <a:solidFill>
                  <a:schemeClr val="bg1"/>
                </a:solidFill>
              </c:spPr>
              <c:txPr>
                <a:bodyPr/>
                <a:lstStyle/>
                <a:p>
                  <a:pPr>
                    <a:defRPr sz="1000" b="1">
                      <a:latin typeface="Times New Roman" pitchFamily="18" charset="0"/>
                      <a:cs typeface="Times New Roman" pitchFamily="18" charset="0"/>
                    </a:defRPr>
                  </a:pPr>
                  <a:endParaRPr lang="ru-RU"/>
                </a:p>
              </c:txPr>
              <c:showVal val="1"/>
            </c:dLbl>
            <c:dLbl>
              <c:idx val="1"/>
              <c:layout>
                <c:manualLayout>
                  <c:x val="2.5711553005026914E-2"/>
                  <c:y val="-2.9892261451189592E-2"/>
                </c:manualLayout>
              </c:layout>
              <c:spPr>
                <a:solidFill>
                  <a:prstClr val="white"/>
                </a:solidFill>
              </c:spPr>
              <c:txPr>
                <a:bodyPr/>
                <a:lstStyle/>
                <a:p>
                  <a:pPr>
                    <a:defRPr sz="1000" b="1">
                      <a:latin typeface="Times New Roman" pitchFamily="18" charset="0"/>
                      <a:cs typeface="Times New Roman" pitchFamily="18" charset="0"/>
                    </a:defRPr>
                  </a:pPr>
                  <a:endParaRPr lang="ru-RU"/>
                </a:p>
              </c:txPr>
              <c:showVal val="1"/>
            </c:dLbl>
            <c:dLbl>
              <c:idx val="2"/>
              <c:layout>
                <c:manualLayout>
                  <c:x val="-3.5493827160494269E-2"/>
                  <c:y val="5.0724447487542332E-2"/>
                </c:manualLayout>
              </c:layout>
              <c:spPr>
                <a:solidFill>
                  <a:prstClr val="white"/>
                </a:solidFill>
              </c:spPr>
              <c:txPr>
                <a:bodyPr/>
                <a:lstStyle/>
                <a:p>
                  <a:pPr>
                    <a:defRPr sz="1000" b="1">
                      <a:latin typeface="Times New Roman" pitchFamily="18" charset="0"/>
                      <a:cs typeface="Times New Roman" pitchFamily="18" charset="0"/>
                    </a:defRPr>
                  </a:pPr>
                  <a:endParaRPr lang="ru-RU"/>
                </a:p>
              </c:txPr>
              <c:showVal val="1"/>
            </c:dLbl>
            <c:dLbl>
              <c:idx val="3"/>
              <c:layout>
                <c:manualLayout>
                  <c:x val="-3.3950617283950615E-2"/>
                  <c:y val="5.3140096618357446E-2"/>
                </c:manualLayout>
              </c:layout>
              <c:spPr>
                <a:solidFill>
                  <a:prstClr val="white"/>
                </a:solidFill>
              </c:spPr>
              <c:txPr>
                <a:bodyPr/>
                <a:lstStyle/>
                <a:p>
                  <a:pPr>
                    <a:defRPr sz="1000" b="1">
                      <a:latin typeface="Times New Roman" pitchFamily="18" charset="0"/>
                      <a:cs typeface="Times New Roman" pitchFamily="18" charset="0"/>
                    </a:defRPr>
                  </a:pPr>
                  <a:endParaRPr lang="ru-RU"/>
                </a:p>
              </c:txPr>
              <c:showVal val="1"/>
            </c:dLbl>
            <c:dLbl>
              <c:idx val="4"/>
              <c:layout>
                <c:manualLayout>
                  <c:x val="-4.1666666666666664E-2"/>
                  <c:y val="5.5555555555555643E-2"/>
                </c:manualLayout>
              </c:layout>
              <c:spPr>
                <a:solidFill>
                  <a:prstClr val="white"/>
                </a:solidFill>
              </c:spPr>
              <c:txPr>
                <a:bodyPr/>
                <a:lstStyle/>
                <a:p>
                  <a:pPr>
                    <a:defRPr sz="1000" b="1">
                      <a:latin typeface="Times New Roman" pitchFamily="18" charset="0"/>
                      <a:cs typeface="Times New Roman" pitchFamily="18" charset="0"/>
                    </a:defRPr>
                  </a:pPr>
                  <a:endParaRPr lang="ru-RU"/>
                </a:p>
              </c:txPr>
              <c:showVal val="1"/>
            </c:dLbl>
            <c:txPr>
              <a:bodyPr/>
              <a:lstStyle/>
              <a:p>
                <a:pPr>
                  <a:defRPr sz="1000" b="1"/>
                </a:pPr>
                <a:endParaRPr lang="ru-RU"/>
              </a:p>
            </c:txPr>
            <c:showVal val="1"/>
          </c:dLbls>
          <c:cat>
            <c:strRef>
              <c:f>Лист1!$A$2:$A$3</c:f>
              <c:strCache>
                <c:ptCount val="2"/>
                <c:pt idx="0">
                  <c:v>2016 год (Факт)                            1 589 090,6 тыс. руб.</c:v>
                </c:pt>
                <c:pt idx="1">
                  <c:v>2017 год (Факт)                             1 821 819,1 тыс. руб.</c:v>
                </c:pt>
              </c:strCache>
            </c:strRef>
          </c:cat>
          <c:val>
            <c:numRef>
              <c:f>Лист1!$B$2:$B$3</c:f>
              <c:numCache>
                <c:formatCode>#,##0.0</c:formatCode>
                <c:ptCount val="2"/>
                <c:pt idx="0">
                  <c:v>427183.5</c:v>
                </c:pt>
                <c:pt idx="1">
                  <c:v>485313.7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Безвозмездные поступления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</c:spPr>
          <c:dLbls>
            <c:dLbl>
              <c:idx val="0"/>
              <c:layout>
                <c:manualLayout>
                  <c:x val="1.9800258018595245E-2"/>
                  <c:y val="4.9986241639150004E-2"/>
                </c:manualLayout>
              </c:layout>
              <c:showVal val="1"/>
            </c:dLbl>
            <c:dLbl>
              <c:idx val="1"/>
              <c:layout>
                <c:manualLayout>
                  <c:x val="2.5449975532719629E-2"/>
                  <c:y val="7.9993014986030453E-2"/>
                </c:manualLayout>
              </c:layout>
              <c:showVal val="1"/>
            </c:dLbl>
            <c:dLbl>
              <c:idx val="2"/>
              <c:layout>
                <c:manualLayout>
                  <c:x val="-2.1604938271605308E-2"/>
                  <c:y val="-0.24396135265700775"/>
                </c:manualLayout>
              </c:layout>
              <c:showVal val="1"/>
            </c:dLbl>
            <c:dLbl>
              <c:idx val="3"/>
              <c:layout>
                <c:manualLayout>
                  <c:x val="-2.0061728395061731E-2"/>
                  <c:y val="-0.23429970710183187"/>
                </c:manualLayout>
              </c:layout>
              <c:showVal val="1"/>
            </c:dLbl>
            <c:dLbl>
              <c:idx val="4"/>
              <c:layout>
                <c:manualLayout>
                  <c:x val="-1.8518518518518583E-2"/>
                  <c:y val="-0.22222222222222221"/>
                </c:manualLayout>
              </c:layout>
              <c:showVal val="1"/>
            </c:dLbl>
            <c:spPr>
              <a:solidFill>
                <a:prstClr val="white"/>
              </a:solidFill>
            </c:spPr>
            <c:txPr>
              <a:bodyPr/>
              <a:lstStyle/>
              <a:p>
                <a:pPr>
                  <a:defRPr sz="10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3</c:f>
              <c:strCache>
                <c:ptCount val="2"/>
                <c:pt idx="0">
                  <c:v>2016 год (Факт)                            1 589 090,6 тыс. руб.</c:v>
                </c:pt>
                <c:pt idx="1">
                  <c:v>2017 год (Факт)                             1 821 819,1 тыс. руб.</c:v>
                </c:pt>
              </c:strCache>
            </c:strRef>
          </c:cat>
          <c:val>
            <c:numRef>
              <c:f>Лист1!$C$2:$C$3</c:f>
              <c:numCache>
                <c:formatCode>#,##0.0</c:formatCode>
                <c:ptCount val="2"/>
                <c:pt idx="0">
                  <c:v>1161907.1000000001</c:v>
                </c:pt>
                <c:pt idx="1">
                  <c:v>1336505.7</c:v>
                </c:pt>
              </c:numCache>
            </c:numRef>
          </c:val>
        </c:ser>
        <c:shape val="cylinder"/>
        <c:axId val="182186752"/>
        <c:axId val="182188288"/>
        <c:axId val="0"/>
      </c:bar3DChart>
      <c:catAx>
        <c:axId val="182186752"/>
        <c:scaling>
          <c:orientation val="minMax"/>
        </c:scaling>
        <c:axPos val="b"/>
        <c:tickLblPos val="nextTo"/>
        <c:txPr>
          <a:bodyPr/>
          <a:lstStyle/>
          <a:p>
            <a:pPr>
              <a:defRPr sz="12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82188288"/>
        <c:crosses val="autoZero"/>
        <c:auto val="1"/>
        <c:lblAlgn val="ctr"/>
        <c:lblOffset val="100"/>
      </c:catAx>
      <c:valAx>
        <c:axId val="182188288"/>
        <c:scaling>
          <c:orientation val="minMax"/>
          <c:max val="2000000"/>
          <c:min val="0"/>
        </c:scaling>
        <c:axPos val="l"/>
        <c:majorGridlines/>
        <c:numFmt formatCode="#,##0" sourceLinked="0"/>
        <c:tickLblPos val="nextTo"/>
        <c:txPr>
          <a:bodyPr/>
          <a:lstStyle/>
          <a:p>
            <a:pPr>
              <a:defRPr sz="1000" i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82186752"/>
        <c:crosses val="autoZero"/>
        <c:crossBetween val="between"/>
      </c:valAx>
      <c:spPr>
        <a:ln w="25400">
          <a:noFill/>
        </a:ln>
      </c:spPr>
    </c:plotArea>
    <c:legend>
      <c:legendPos val="r"/>
      <c:layout>
        <c:manualLayout>
          <c:xMode val="edge"/>
          <c:yMode val="edge"/>
          <c:x val="0.1566242587732089"/>
          <c:y val="0.86345478873963821"/>
          <c:w val="0.73072142023914965"/>
          <c:h val="0.13654521126035721"/>
        </c:manualLayout>
      </c:layout>
      <c:txPr>
        <a:bodyPr/>
        <a:lstStyle/>
        <a:p>
          <a:pPr>
            <a:defRPr sz="1200" baseline="0"/>
          </a:pPr>
          <a:endParaRPr lang="ru-RU"/>
        </a:p>
      </c:txPr>
    </c:legend>
    <c:plotVisOnly val="1"/>
  </c:chart>
  <c:spPr>
    <a:ln>
      <a:solidFill>
        <a:schemeClr val="accent1"/>
      </a:solidFill>
    </a:ln>
  </c:spPr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depthPercent val="80"/>
      <c:rAngAx val="1"/>
    </c:view3D>
    <c:sideWall>
      <c:spPr>
        <a:noFill/>
        <a:ln w="3175">
          <a:solidFill>
            <a:srgbClr val="E1DFD3"/>
          </a:solidFill>
        </a:ln>
        <a:scene3d>
          <a:camera prst="orthographicFront"/>
          <a:lightRig rig="threePt" dir="t"/>
        </a:scene3d>
        <a:sp3d>
          <a:bevelT/>
        </a:sp3d>
      </c:spPr>
    </c:sideWall>
    <c:backWall>
      <c:spPr>
        <a:noFill/>
        <a:ln w="25400">
          <a:noFill/>
        </a:ln>
        <a:scene3d>
          <a:camera prst="orthographicFront"/>
          <a:lightRig rig="threePt" dir="t"/>
        </a:scene3d>
        <a:sp3d>
          <a:bevelT/>
        </a:sp3d>
      </c:spPr>
    </c:backWall>
    <c:plotArea>
      <c:layout>
        <c:manualLayout>
          <c:layoutTarget val="inner"/>
          <c:xMode val="edge"/>
          <c:yMode val="edge"/>
          <c:x val="0.18838129324743688"/>
          <c:y val="3.4430383668794216E-2"/>
          <c:w val="0.77433166308756862"/>
          <c:h val="0.71444957967210665"/>
        </c:manualLayout>
      </c:layout>
      <c:bar3D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Налоговые и неналоговые доходы</c:v>
                </c:pt>
              </c:strCache>
            </c:strRef>
          </c:tx>
          <c:spPr>
            <a:solidFill>
              <a:srgbClr val="00B0F0"/>
            </a:solidFill>
          </c:spPr>
          <c:dLbls>
            <c:dLbl>
              <c:idx val="0"/>
              <c:layout>
                <c:manualLayout>
                  <c:x val="1.0802469135802602E-2"/>
                  <c:y val="-7.0267636999921477E-3"/>
                </c:manualLayout>
              </c:layout>
              <c:spPr>
                <a:solidFill>
                  <a:schemeClr val="bg1"/>
                </a:solidFill>
              </c:spPr>
              <c:txPr>
                <a:bodyPr/>
                <a:lstStyle/>
                <a:p>
                  <a:pPr>
                    <a:defRPr sz="1000" b="1">
                      <a:latin typeface="Times New Roman" pitchFamily="18" charset="0"/>
                      <a:cs typeface="Times New Roman" pitchFamily="18" charset="0"/>
                    </a:defRPr>
                  </a:pPr>
                  <a:endParaRPr lang="ru-RU"/>
                </a:p>
              </c:txPr>
              <c:showVal val="1"/>
            </c:dLbl>
            <c:dLbl>
              <c:idx val="1"/>
              <c:layout>
                <c:manualLayout>
                  <c:x val="1.7031496062992126E-2"/>
                  <c:y val="-2.7204089408178842E-2"/>
                </c:manualLayout>
              </c:layout>
              <c:spPr>
                <a:solidFill>
                  <a:prstClr val="white"/>
                </a:solidFill>
              </c:spPr>
              <c:txPr>
                <a:bodyPr/>
                <a:lstStyle/>
                <a:p>
                  <a:pPr>
                    <a:defRPr sz="1000" b="1">
                      <a:latin typeface="Times New Roman" pitchFamily="18" charset="0"/>
                      <a:cs typeface="Times New Roman" pitchFamily="18" charset="0"/>
                    </a:defRPr>
                  </a:pPr>
                  <a:endParaRPr lang="ru-RU"/>
                </a:p>
              </c:txPr>
              <c:showVal val="1"/>
            </c:dLbl>
            <c:dLbl>
              <c:idx val="2"/>
              <c:layout>
                <c:manualLayout>
                  <c:x val="-3.5493827160494283E-2"/>
                  <c:y val="5.0724447487542332E-2"/>
                </c:manualLayout>
              </c:layout>
              <c:spPr>
                <a:solidFill>
                  <a:prstClr val="white"/>
                </a:solidFill>
              </c:spPr>
              <c:txPr>
                <a:bodyPr/>
                <a:lstStyle/>
                <a:p>
                  <a:pPr>
                    <a:defRPr sz="1000" b="1">
                      <a:latin typeface="Times New Roman" pitchFamily="18" charset="0"/>
                      <a:cs typeface="Times New Roman" pitchFamily="18" charset="0"/>
                    </a:defRPr>
                  </a:pPr>
                  <a:endParaRPr lang="ru-RU"/>
                </a:p>
              </c:txPr>
              <c:showVal val="1"/>
            </c:dLbl>
            <c:dLbl>
              <c:idx val="3"/>
              <c:layout>
                <c:manualLayout>
                  <c:x val="-3.3950617283950615E-2"/>
                  <c:y val="5.3140096618357446E-2"/>
                </c:manualLayout>
              </c:layout>
              <c:spPr>
                <a:solidFill>
                  <a:prstClr val="white"/>
                </a:solidFill>
              </c:spPr>
              <c:txPr>
                <a:bodyPr/>
                <a:lstStyle/>
                <a:p>
                  <a:pPr>
                    <a:defRPr sz="1000" b="1">
                      <a:latin typeface="Times New Roman" pitchFamily="18" charset="0"/>
                      <a:cs typeface="Times New Roman" pitchFamily="18" charset="0"/>
                    </a:defRPr>
                  </a:pPr>
                  <a:endParaRPr lang="ru-RU"/>
                </a:p>
              </c:txPr>
              <c:showVal val="1"/>
            </c:dLbl>
            <c:dLbl>
              <c:idx val="4"/>
              <c:layout>
                <c:manualLayout>
                  <c:x val="-4.1666666666666664E-2"/>
                  <c:y val="5.5555555555555643E-2"/>
                </c:manualLayout>
              </c:layout>
              <c:spPr>
                <a:solidFill>
                  <a:prstClr val="white"/>
                </a:solidFill>
              </c:spPr>
              <c:txPr>
                <a:bodyPr/>
                <a:lstStyle/>
                <a:p>
                  <a:pPr>
                    <a:defRPr sz="1000" b="1">
                      <a:latin typeface="Times New Roman" pitchFamily="18" charset="0"/>
                      <a:cs typeface="Times New Roman" pitchFamily="18" charset="0"/>
                    </a:defRPr>
                  </a:pPr>
                  <a:endParaRPr lang="ru-RU"/>
                </a:p>
              </c:txPr>
              <c:showVal val="1"/>
            </c:dLbl>
            <c:txPr>
              <a:bodyPr/>
              <a:lstStyle/>
              <a:p>
                <a:pPr>
                  <a:defRPr sz="1000" b="1"/>
                </a:pPr>
                <a:endParaRPr lang="ru-RU"/>
              </a:p>
            </c:txPr>
            <c:showVal val="1"/>
          </c:dLbls>
          <c:cat>
            <c:strRef>
              <c:f>Лист1!$A$2:$A$3</c:f>
              <c:strCache>
                <c:ptCount val="2"/>
                <c:pt idx="0">
                  <c:v>2017 год (План)                            1 878 899,0 тыс. руб.</c:v>
                </c:pt>
                <c:pt idx="1">
                  <c:v>2017 год (Факт)                              1 821 819,4 тыс. руб.</c:v>
                </c:pt>
              </c:strCache>
            </c:strRef>
          </c:cat>
          <c:val>
            <c:numRef>
              <c:f>Лист1!$B$2:$B$3</c:f>
              <c:numCache>
                <c:formatCode>#,##0.0</c:formatCode>
                <c:ptCount val="2"/>
                <c:pt idx="0">
                  <c:v>482621.5</c:v>
                </c:pt>
                <c:pt idx="1">
                  <c:v>485313.7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Безвозмездные поступления</c:v>
                </c:pt>
              </c:strCache>
            </c:strRef>
          </c:tx>
          <c:spPr>
            <a:solidFill>
              <a:srgbClr val="FFCCFF"/>
            </a:solidFill>
            <a:ln>
              <a:noFill/>
            </a:ln>
          </c:spPr>
          <c:dLbls>
            <c:dLbl>
              <c:idx val="0"/>
              <c:layout>
                <c:manualLayout>
                  <c:x val="4.0324504891434123E-3"/>
                  <c:y val="6.6115273897214416E-2"/>
                </c:manualLayout>
              </c:layout>
              <c:showVal val="1"/>
            </c:dLbl>
            <c:dLbl>
              <c:idx val="1"/>
              <c:layout>
                <c:manualLayout>
                  <c:x val="2.8274874731567645E-2"/>
                  <c:y val="6.386419439505546E-2"/>
                </c:manualLayout>
              </c:layout>
              <c:showVal val="1"/>
            </c:dLbl>
            <c:dLbl>
              <c:idx val="2"/>
              <c:layout>
                <c:manualLayout>
                  <c:x val="-2.1604938271605322E-2"/>
                  <c:y val="-0.24396135265700786"/>
                </c:manualLayout>
              </c:layout>
              <c:showVal val="1"/>
            </c:dLbl>
            <c:dLbl>
              <c:idx val="3"/>
              <c:layout>
                <c:manualLayout>
                  <c:x val="-2.0061728395061731E-2"/>
                  <c:y val="-0.23429970710183196"/>
                </c:manualLayout>
              </c:layout>
              <c:showVal val="1"/>
            </c:dLbl>
            <c:dLbl>
              <c:idx val="4"/>
              <c:layout>
                <c:manualLayout>
                  <c:x val="-1.8518518518518583E-2"/>
                  <c:y val="-0.22222222222222221"/>
                </c:manualLayout>
              </c:layout>
              <c:showVal val="1"/>
            </c:dLbl>
            <c:spPr>
              <a:solidFill>
                <a:prstClr val="white"/>
              </a:solidFill>
            </c:spPr>
            <c:txPr>
              <a:bodyPr/>
              <a:lstStyle/>
              <a:p>
                <a:pPr>
                  <a:defRPr sz="1000" b="1"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</c:dLbls>
          <c:cat>
            <c:strRef>
              <c:f>Лист1!$A$2:$A$3</c:f>
              <c:strCache>
                <c:ptCount val="2"/>
                <c:pt idx="0">
                  <c:v>2017 год (План)                            1 878 899,0 тыс. руб.</c:v>
                </c:pt>
                <c:pt idx="1">
                  <c:v>2017 год (Факт)                              1 821 819,4 тыс. руб.</c:v>
                </c:pt>
              </c:strCache>
            </c:strRef>
          </c:cat>
          <c:val>
            <c:numRef>
              <c:f>Лист1!$C$2:$C$3</c:f>
              <c:numCache>
                <c:formatCode>#,##0.0</c:formatCode>
                <c:ptCount val="2"/>
                <c:pt idx="0">
                  <c:v>1396277.4</c:v>
                </c:pt>
                <c:pt idx="1">
                  <c:v>1336505.7</c:v>
                </c:pt>
              </c:numCache>
            </c:numRef>
          </c:val>
        </c:ser>
        <c:shape val="cylinder"/>
        <c:axId val="206464128"/>
        <c:axId val="206465664"/>
        <c:axId val="0"/>
      </c:bar3DChart>
      <c:catAx>
        <c:axId val="206464128"/>
        <c:scaling>
          <c:orientation val="minMax"/>
        </c:scaling>
        <c:axPos val="b"/>
        <c:tickLblPos val="nextTo"/>
        <c:txPr>
          <a:bodyPr/>
          <a:lstStyle/>
          <a:p>
            <a:pPr>
              <a:defRPr sz="12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206465664"/>
        <c:crosses val="autoZero"/>
        <c:auto val="1"/>
        <c:lblAlgn val="ctr"/>
        <c:lblOffset val="100"/>
      </c:catAx>
      <c:valAx>
        <c:axId val="206465664"/>
        <c:scaling>
          <c:orientation val="minMax"/>
          <c:max val="2000000"/>
          <c:min val="0"/>
        </c:scaling>
        <c:axPos val="l"/>
        <c:majorGridlines/>
        <c:numFmt formatCode="#,##0" sourceLinked="0"/>
        <c:tickLblPos val="nextTo"/>
        <c:txPr>
          <a:bodyPr/>
          <a:lstStyle/>
          <a:p>
            <a:pPr>
              <a:defRPr sz="1000" i="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206464128"/>
        <c:crosses val="autoZero"/>
        <c:crossBetween val="between"/>
      </c:valAx>
      <c:spPr>
        <a:ln w="25400">
          <a:noFill/>
        </a:ln>
      </c:spPr>
    </c:plotArea>
    <c:legend>
      <c:legendPos val="r"/>
      <c:layout>
        <c:manualLayout>
          <c:xMode val="edge"/>
          <c:yMode val="edge"/>
          <c:x val="0.1566242587732089"/>
          <c:y val="0.86345478873963799"/>
          <c:w val="0.73072142023914999"/>
          <c:h val="0.13654521126035721"/>
        </c:manualLayout>
      </c:layout>
      <c:txPr>
        <a:bodyPr/>
        <a:lstStyle/>
        <a:p>
          <a:pPr>
            <a:defRPr sz="1200" baseline="0"/>
          </a:pPr>
          <a:endParaRPr lang="ru-RU"/>
        </a:p>
      </c:txPr>
    </c:legend>
    <c:plotVisOnly val="1"/>
  </c:chart>
  <c:spPr>
    <a:ln>
      <a:solidFill>
        <a:schemeClr val="accent1"/>
      </a:solidFill>
    </a:ln>
  </c:spPr>
  <c:txPr>
    <a:bodyPr/>
    <a:lstStyle/>
    <a:p>
      <a:pPr>
        <a:defRPr sz="1800"/>
      </a:pPr>
      <a:endParaRPr lang="ru-RU"/>
    </a:p>
  </c:txPr>
  <c:externalData r:id="rId1"/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098</cdr:x>
      <cdr:y>0.28125</cdr:y>
    </cdr:from>
    <cdr:to>
      <cdr:x>0.62745</cdr:x>
      <cdr:y>0.35625</cdr:y>
    </cdr:to>
    <cdr:sp macro="" textlink="">
      <cdr:nvSpPr>
        <cdr:cNvPr id="5" name="Прямая со стрелкой 4"/>
        <cdr:cNvSpPr/>
      </cdr:nvSpPr>
      <cdr:spPr>
        <a:xfrm xmlns:a="http://schemas.openxmlformats.org/drawingml/2006/main" flipV="1">
          <a:off x="3962401" y="1143000"/>
          <a:ext cx="914400" cy="304800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rgbClr val="7030A0"/>
          </a:solidFill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 dirty="0"/>
        </a:p>
      </cdr:txBody>
    </cdr:sp>
  </cdr:relSizeAnchor>
  <cdr:relSizeAnchor xmlns:cdr="http://schemas.openxmlformats.org/drawingml/2006/chartDrawing">
    <cdr:from>
      <cdr:x>0.5008</cdr:x>
      <cdr:y>0.20349</cdr:y>
    </cdr:from>
    <cdr:to>
      <cdr:x>0.61401</cdr:x>
      <cdr:y>0.2981</cdr:y>
    </cdr:to>
    <cdr:sp macro="" textlink="">
      <cdr:nvSpPr>
        <cdr:cNvPr id="6" name="Прямоугольник 5"/>
        <cdr:cNvSpPr/>
      </cdr:nvSpPr>
      <cdr:spPr>
        <a:xfrm xmlns:a="http://schemas.openxmlformats.org/drawingml/2006/main" rot="20556283">
          <a:off x="3892386" y="826994"/>
          <a:ext cx="879983" cy="384486"/>
        </a:xfrm>
        <a:prstGeom xmlns:a="http://schemas.openxmlformats.org/drawingml/2006/main" prst="rect">
          <a:avLst/>
        </a:prstGeom>
        <a:solidFill xmlns:a="http://schemas.openxmlformats.org/drawingml/2006/main">
          <a:sysClr val="window" lastClr="FFFFFF"/>
        </a:solidFill>
        <a:ln xmlns:a="http://schemas.openxmlformats.org/drawingml/2006/main" w="3175" cap="flat" cmpd="sng" algn="ctr">
          <a:solidFill>
            <a:srgbClr val="F0A22E">
              <a:shade val="50000"/>
            </a:srgbClr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en-US"/>
          </a:defPPr>
          <a:lvl1pPr marL="0" algn="l" defTabSz="914400" rtl="0" latinLnBrk="0">
            <a:defRPr sz="1800" kern="1200">
              <a:solidFill>
                <a:sysClr val="window" lastClr="FFFFFF"/>
              </a:solidFill>
              <a:latin typeface="Franklin Gothic Book"/>
            </a:defRPr>
          </a:lvl1pPr>
          <a:lvl2pPr marL="457200" algn="l" defTabSz="914400" rtl="0" latinLnBrk="0">
            <a:defRPr sz="1800" kern="1200">
              <a:solidFill>
                <a:sysClr val="window" lastClr="FFFFFF"/>
              </a:solidFill>
              <a:latin typeface="Franklin Gothic Book"/>
            </a:defRPr>
          </a:lvl2pPr>
          <a:lvl3pPr marL="914400" algn="l" defTabSz="914400" rtl="0" latinLnBrk="0">
            <a:defRPr sz="1800" kern="1200">
              <a:solidFill>
                <a:sysClr val="window" lastClr="FFFFFF"/>
              </a:solidFill>
              <a:latin typeface="Franklin Gothic Book"/>
            </a:defRPr>
          </a:lvl3pPr>
          <a:lvl4pPr marL="1371600" algn="l" defTabSz="914400" rtl="0" latinLnBrk="0">
            <a:defRPr sz="1800" kern="1200">
              <a:solidFill>
                <a:sysClr val="window" lastClr="FFFFFF"/>
              </a:solidFill>
              <a:latin typeface="Franklin Gothic Book"/>
            </a:defRPr>
          </a:lvl4pPr>
          <a:lvl5pPr marL="1828800" algn="l" defTabSz="914400" rtl="0" latinLnBrk="0">
            <a:defRPr sz="1800" kern="1200">
              <a:solidFill>
                <a:sysClr val="window" lastClr="FFFFFF"/>
              </a:solidFill>
              <a:latin typeface="Franklin Gothic Book"/>
            </a:defRPr>
          </a:lvl5pPr>
          <a:lvl6pPr marL="2286000" algn="l" defTabSz="914400" rtl="0" latinLnBrk="0">
            <a:defRPr sz="1800" kern="1200">
              <a:solidFill>
                <a:sysClr val="window" lastClr="FFFFFF"/>
              </a:solidFill>
              <a:latin typeface="Franklin Gothic Book"/>
            </a:defRPr>
          </a:lvl6pPr>
          <a:lvl7pPr marL="2743200" algn="l" defTabSz="914400" rtl="0" latinLnBrk="0">
            <a:defRPr sz="1800" kern="1200">
              <a:solidFill>
                <a:sysClr val="window" lastClr="FFFFFF"/>
              </a:solidFill>
              <a:latin typeface="Franklin Gothic Book"/>
            </a:defRPr>
          </a:lvl7pPr>
          <a:lvl8pPr marL="3200400" algn="l" defTabSz="914400" rtl="0" latinLnBrk="0">
            <a:defRPr sz="1800" kern="1200">
              <a:solidFill>
                <a:sysClr val="window" lastClr="FFFFFF"/>
              </a:solidFill>
              <a:latin typeface="Franklin Gothic Book"/>
            </a:defRPr>
          </a:lvl8pPr>
          <a:lvl9pPr marL="3657600" algn="l" defTabSz="914400" rtl="0" latinLnBrk="0">
            <a:defRPr sz="1800" kern="1200">
              <a:solidFill>
                <a:sysClr val="window" lastClr="FFFFFF"/>
              </a:solidFill>
              <a:latin typeface="Franklin Gothic Book"/>
            </a:defRPr>
          </a:lvl9pPr>
        </a:lstStyle>
        <a:p xmlns:a="http://schemas.openxmlformats.org/drawingml/2006/main">
          <a:pPr algn="ctr"/>
          <a:r>
            <a:rPr lang="ru-RU" sz="1000" b="1" dirty="0" smtClean="0">
              <a:solidFill>
                <a:schemeClr val="tx1"/>
              </a:solidFill>
            </a:rPr>
            <a:t>+970,9</a:t>
          </a:r>
          <a:endParaRPr lang="ru-RU" sz="1000" b="1" dirty="0">
            <a:solidFill>
              <a:schemeClr val="tx1"/>
            </a:solidFill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2.15137E-7</cdr:x>
      <cdr:y>0.21739</cdr:y>
    </cdr:from>
    <cdr:to>
      <cdr:x>0.04918</cdr:x>
      <cdr:y>0.49275</cdr:y>
    </cdr:to>
    <cdr:sp macro="" textlink="">
      <cdr:nvSpPr>
        <cdr:cNvPr id="2" name="TextBox 1"/>
        <cdr:cNvSpPr txBox="1"/>
      </cdr:nvSpPr>
      <cdr:spPr>
        <a:xfrm xmlns:a="http://schemas.openxmlformats.org/drawingml/2006/main" rot="16200000">
          <a:off x="-536155" y="1563192"/>
          <a:ext cx="1300911" cy="228599"/>
        </a:xfrm>
        <a:prstGeom xmlns:a="http://schemas.openxmlformats.org/drawingml/2006/main" prst="roundRect">
          <a:avLst>
            <a:gd name="adj" fmla="val 16667"/>
          </a:avLst>
        </a:prstGeom>
        <a:solidFill xmlns:a="http://schemas.openxmlformats.org/drawingml/2006/main">
          <a:schemeClr val="bg1"/>
        </a:solidFill>
        <a:ln xmlns:a="http://schemas.openxmlformats.org/drawingml/2006/main" w="25400" cap="flat" cmpd="sng" algn="ctr">
          <a:noFill/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4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none" rtlCol="0" anchor="ctr"/>
        <a:lstStyle xmlns:a="http://schemas.openxmlformats.org/drawingml/2006/main">
          <a:defPPr>
            <a:defRPr lang="en-US"/>
          </a:defPPr>
          <a:lvl1pPr marL="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1pPr>
          <a:lvl2pPr marL="4572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2pPr>
          <a:lvl3pPr marL="9144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3pPr>
          <a:lvl4pPr marL="13716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4pPr>
          <a:lvl5pPr marL="18288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5pPr>
          <a:lvl6pPr marL="22860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6pPr>
          <a:lvl7pPr marL="27432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7pPr>
          <a:lvl8pPr marL="32004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8pPr>
          <a:lvl9pPr marL="36576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9pPr>
        </a:lstStyle>
        <a:p xmlns:a="http://schemas.openxmlformats.org/drawingml/2006/main">
          <a:pPr algn="ctr"/>
          <a:r>
            <a:rPr lang="ru-RU" sz="1050" b="1" dirty="0" smtClean="0">
              <a:solidFill>
                <a:srgbClr val="44700E"/>
              </a:solidFill>
              <a:latin typeface="Times New Roman" pitchFamily="18" charset="0"/>
              <a:cs typeface="Times New Roman" pitchFamily="18" charset="0"/>
            </a:rPr>
            <a:t>Тыс. рублей</a:t>
          </a:r>
          <a:endParaRPr lang="ru-RU" sz="1050" b="1" dirty="0">
            <a:solidFill>
              <a:srgbClr val="44700E"/>
            </a:solidFill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49292</cdr:x>
      <cdr:y>0.63043</cdr:y>
    </cdr:from>
    <cdr:to>
      <cdr:x>0.64905</cdr:x>
      <cdr:y>0.69394</cdr:y>
    </cdr:to>
    <cdr:sp macro="" textlink="">
      <cdr:nvSpPr>
        <cdr:cNvPr id="9" name="Скругленный прямоугольник 8"/>
        <cdr:cNvSpPr/>
      </cdr:nvSpPr>
      <cdr:spPr>
        <a:xfrm xmlns:a="http://schemas.openxmlformats.org/drawingml/2006/main" rot="20993532">
          <a:off x="2216086" y="2978401"/>
          <a:ext cx="701903" cy="300068"/>
        </a:xfrm>
        <a:prstGeom xmlns:a="http://schemas.openxmlformats.org/drawingml/2006/main" prst="roundRect">
          <a:avLst/>
        </a:prstGeom>
        <a:ln xmlns:a="http://schemas.openxmlformats.org/drawingml/2006/main">
          <a:solidFill>
            <a:srgbClr val="00B050"/>
          </a:solidFill>
        </a:ln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sz="900" b="1" dirty="0" smtClean="0">
              <a:latin typeface="Times New Roman" pitchFamily="18" charset="0"/>
              <a:cs typeface="Times New Roman" pitchFamily="18" charset="0"/>
            </a:rPr>
            <a:t>+58 130,2</a:t>
          </a:r>
          <a:endParaRPr lang="ru-RU" sz="900" b="1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4763</cdr:x>
      <cdr:y>0.36695</cdr:y>
    </cdr:from>
    <cdr:to>
      <cdr:x>0.66199</cdr:x>
      <cdr:y>0.43329</cdr:y>
    </cdr:to>
    <cdr:sp macro="" textlink="">
      <cdr:nvSpPr>
        <cdr:cNvPr id="5" name="Скругленный прямоугольник 4"/>
        <cdr:cNvSpPr/>
      </cdr:nvSpPr>
      <cdr:spPr>
        <a:xfrm xmlns:a="http://schemas.openxmlformats.org/drawingml/2006/main" rot="20993532">
          <a:off x="2141331" y="1733620"/>
          <a:ext cx="834856" cy="313417"/>
        </a:xfrm>
        <a:prstGeom xmlns:a="http://schemas.openxmlformats.org/drawingml/2006/main" prst="roundRect">
          <a:avLst/>
        </a:prstGeom>
        <a:solidFill xmlns:a="http://schemas.openxmlformats.org/drawingml/2006/main">
          <a:sysClr val="window" lastClr="FFFFFF"/>
        </a:solidFill>
        <a:ln xmlns:a="http://schemas.openxmlformats.org/drawingml/2006/main" w="25400" cap="flat" cmpd="sng" algn="ctr">
          <a:solidFill>
            <a:srgbClr val="00B05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Text" lastClr="000000"/>
              </a:solidFill>
              <a:latin typeface="Franklin Gothic Book"/>
            </a:defRPr>
          </a:lvl1pPr>
          <a:lvl2pPr marL="457200" indent="0">
            <a:defRPr sz="1100">
              <a:solidFill>
                <a:sysClr val="windowText" lastClr="000000"/>
              </a:solidFill>
              <a:latin typeface="Franklin Gothic Book"/>
            </a:defRPr>
          </a:lvl2pPr>
          <a:lvl3pPr marL="914400" indent="0">
            <a:defRPr sz="1100">
              <a:solidFill>
                <a:sysClr val="windowText" lastClr="000000"/>
              </a:solidFill>
              <a:latin typeface="Franklin Gothic Book"/>
            </a:defRPr>
          </a:lvl3pPr>
          <a:lvl4pPr marL="1371600" indent="0">
            <a:defRPr sz="1100">
              <a:solidFill>
                <a:sysClr val="windowText" lastClr="000000"/>
              </a:solidFill>
              <a:latin typeface="Franklin Gothic Book"/>
            </a:defRPr>
          </a:lvl4pPr>
          <a:lvl5pPr marL="1828800" indent="0">
            <a:defRPr sz="1100">
              <a:solidFill>
                <a:sysClr val="windowText" lastClr="000000"/>
              </a:solidFill>
              <a:latin typeface="Franklin Gothic Book"/>
            </a:defRPr>
          </a:lvl5pPr>
          <a:lvl6pPr marL="2286000" indent="0">
            <a:defRPr sz="1100">
              <a:solidFill>
                <a:sysClr val="windowText" lastClr="000000"/>
              </a:solidFill>
              <a:latin typeface="Franklin Gothic Book"/>
            </a:defRPr>
          </a:lvl6pPr>
          <a:lvl7pPr marL="2743200" indent="0">
            <a:defRPr sz="1100">
              <a:solidFill>
                <a:sysClr val="windowText" lastClr="000000"/>
              </a:solidFill>
              <a:latin typeface="Franklin Gothic Book"/>
            </a:defRPr>
          </a:lvl7pPr>
          <a:lvl8pPr marL="3200400" indent="0">
            <a:defRPr sz="1100">
              <a:solidFill>
                <a:sysClr val="windowText" lastClr="000000"/>
              </a:solidFill>
              <a:latin typeface="Franklin Gothic Book"/>
            </a:defRPr>
          </a:lvl8pPr>
          <a:lvl9pPr marL="3657600" indent="0">
            <a:defRPr sz="1100">
              <a:solidFill>
                <a:sysClr val="windowText" lastClr="000000"/>
              </a:solidFill>
              <a:latin typeface="Franklin Gothic Book"/>
            </a:defRPr>
          </a:lvl9pPr>
        </a:lstStyle>
        <a:p xmlns:a="http://schemas.openxmlformats.org/drawingml/2006/main">
          <a:r>
            <a:rPr lang="ru-RU" sz="900" b="1" dirty="0" smtClean="0">
              <a:latin typeface="Times New Roman" pitchFamily="18" charset="0"/>
              <a:cs typeface="Times New Roman" pitchFamily="18" charset="0"/>
            </a:rPr>
            <a:t>+174 598,6</a:t>
          </a:r>
          <a:endParaRPr lang="ru-RU" sz="900" b="1" dirty="0">
            <a:latin typeface="Times New Roman" pitchFamily="18" charset="0"/>
            <a:cs typeface="Times New Roman" pitchFamily="18" charset="0"/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2.08307E-7</cdr:x>
      <cdr:y>0.21739</cdr:y>
    </cdr:from>
    <cdr:to>
      <cdr:x>0.03175</cdr:x>
      <cdr:y>0.49275</cdr:y>
    </cdr:to>
    <cdr:sp macro="" textlink="">
      <cdr:nvSpPr>
        <cdr:cNvPr id="2" name="TextBox 1"/>
        <cdr:cNvSpPr txBox="1"/>
      </cdr:nvSpPr>
      <cdr:spPr>
        <a:xfrm xmlns:a="http://schemas.openxmlformats.org/drawingml/2006/main" rot="16200000">
          <a:off x="-532290" y="1493065"/>
          <a:ext cx="1216981" cy="152400"/>
        </a:xfrm>
        <a:prstGeom xmlns:a="http://schemas.openxmlformats.org/drawingml/2006/main" prst="roundRect">
          <a:avLst>
            <a:gd name="adj" fmla="val 16667"/>
          </a:avLst>
        </a:prstGeom>
        <a:solidFill xmlns:a="http://schemas.openxmlformats.org/drawingml/2006/main">
          <a:schemeClr val="bg1"/>
        </a:solidFill>
        <a:ln xmlns:a="http://schemas.openxmlformats.org/drawingml/2006/main" w="25400" cap="flat" cmpd="sng" algn="ctr">
          <a:noFill/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4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4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wrap="none" rtlCol="0" anchor="ctr"/>
        <a:lstStyle xmlns:a="http://schemas.openxmlformats.org/drawingml/2006/main">
          <a:defPPr>
            <a:defRPr lang="en-US"/>
          </a:defPPr>
          <a:lvl1pPr marL="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1pPr>
          <a:lvl2pPr marL="4572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2pPr>
          <a:lvl3pPr marL="9144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3pPr>
          <a:lvl4pPr marL="13716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4pPr>
          <a:lvl5pPr marL="18288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5pPr>
          <a:lvl6pPr marL="22860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6pPr>
          <a:lvl7pPr marL="27432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7pPr>
          <a:lvl8pPr marL="32004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8pPr>
          <a:lvl9pPr marL="3657600" algn="l" defTabSz="914400" rtl="0" latinLnBrk="0">
            <a:defRPr sz="1800" kern="1200">
              <a:solidFill>
                <a:sysClr val="windowText" lastClr="000000"/>
              </a:solidFill>
              <a:latin typeface="Constantia"/>
            </a:defRPr>
          </a:lvl9pPr>
        </a:lstStyle>
        <a:p xmlns:a="http://schemas.openxmlformats.org/drawingml/2006/main">
          <a:pPr algn="ctr"/>
          <a:r>
            <a:rPr lang="ru-RU" sz="1050" b="1" dirty="0" smtClean="0">
              <a:solidFill>
                <a:srgbClr val="44700E"/>
              </a:solidFill>
              <a:latin typeface="Times New Roman" pitchFamily="18" charset="0"/>
              <a:cs typeface="Times New Roman" pitchFamily="18" charset="0"/>
            </a:rPr>
            <a:t>Тыс. рублей</a:t>
          </a:r>
          <a:endParaRPr lang="ru-RU" sz="1050" b="1" dirty="0">
            <a:solidFill>
              <a:srgbClr val="44700E"/>
            </a:solidFill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48891</cdr:x>
      <cdr:y>0.62663</cdr:y>
    </cdr:from>
    <cdr:to>
      <cdr:x>0.65639</cdr:x>
      <cdr:y>0.69519</cdr:y>
    </cdr:to>
    <cdr:sp macro="" textlink="">
      <cdr:nvSpPr>
        <cdr:cNvPr id="9" name="Скругленный прямоугольник 8"/>
        <cdr:cNvSpPr/>
      </cdr:nvSpPr>
      <cdr:spPr>
        <a:xfrm xmlns:a="http://schemas.openxmlformats.org/drawingml/2006/main" rot="20993532">
          <a:off x="2049037" y="2960460"/>
          <a:ext cx="701895" cy="323905"/>
        </a:xfrm>
        <a:prstGeom xmlns:a="http://schemas.openxmlformats.org/drawingml/2006/main" prst="roundRect">
          <a:avLst/>
        </a:prstGeom>
        <a:ln xmlns:a="http://schemas.openxmlformats.org/drawingml/2006/main">
          <a:solidFill>
            <a:srgbClr val="00B050"/>
          </a:solidFill>
        </a:ln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sz="1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+2 692,2</a:t>
          </a:r>
          <a:endParaRPr lang="ru-RU" sz="1000" b="1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46979</cdr:x>
      <cdr:y>0.20674</cdr:y>
    </cdr:from>
    <cdr:to>
      <cdr:x>0.65961</cdr:x>
      <cdr:y>0.28706</cdr:y>
    </cdr:to>
    <cdr:sp macro="" textlink="">
      <cdr:nvSpPr>
        <cdr:cNvPr id="13" name="Скругленный прямоугольник 12"/>
        <cdr:cNvSpPr/>
      </cdr:nvSpPr>
      <cdr:spPr>
        <a:xfrm xmlns:a="http://schemas.openxmlformats.org/drawingml/2006/main" rot="1019305">
          <a:off x="1968902" y="976728"/>
          <a:ext cx="795540" cy="379464"/>
        </a:xfrm>
        <a:prstGeom xmlns:a="http://schemas.openxmlformats.org/drawingml/2006/main" prst="roundRect">
          <a:avLst/>
        </a:prstGeom>
        <a:ln xmlns:a="http://schemas.openxmlformats.org/drawingml/2006/main">
          <a:solidFill>
            <a:srgbClr val="FFC000"/>
          </a:solidFill>
        </a:ln>
      </cdr:spPr>
      <cdr:style>
        <a:lnRef xmlns:a="http://schemas.openxmlformats.org/drawingml/2006/main" idx="2">
          <a:schemeClr val="accent6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6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sz="9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-</a:t>
          </a:r>
          <a:r>
            <a:rPr lang="ru-RU" sz="1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59</a:t>
          </a:r>
          <a:r>
            <a:rPr lang="ru-RU" sz="10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</a:t>
          </a:r>
          <a:r>
            <a:rPr lang="ru-RU" sz="10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771,7</a:t>
          </a:r>
          <a:endParaRPr lang="ru-RU" sz="1000" b="1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49091</cdr:x>
      <cdr:y>0.16129</cdr:y>
    </cdr:from>
    <cdr:to>
      <cdr:x>0.67273</cdr:x>
      <cdr:y>0.20968</cdr:y>
    </cdr:to>
    <cdr:sp macro="" textlink="">
      <cdr:nvSpPr>
        <cdr:cNvPr id="6" name="Прямая со стрелкой 5"/>
        <cdr:cNvSpPr/>
      </cdr:nvSpPr>
      <cdr:spPr>
        <a:xfrm xmlns:a="http://schemas.openxmlformats.org/drawingml/2006/main">
          <a:off x="2057400" y="762000"/>
          <a:ext cx="761999" cy="228600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 dirty="0"/>
        </a:p>
      </cdr:txBody>
    </cdr:sp>
  </cdr:relSizeAnchor>
  <cdr:relSizeAnchor xmlns:cdr="http://schemas.openxmlformats.org/drawingml/2006/chartDrawing">
    <cdr:from>
      <cdr:x>0.49091</cdr:x>
      <cdr:y>0.58065</cdr:y>
    </cdr:from>
    <cdr:to>
      <cdr:x>0.65455</cdr:x>
      <cdr:y>0.6129</cdr:y>
    </cdr:to>
    <cdr:sp macro="" textlink="">
      <cdr:nvSpPr>
        <cdr:cNvPr id="8" name="Прямая со стрелкой 7"/>
        <cdr:cNvSpPr/>
      </cdr:nvSpPr>
      <cdr:spPr>
        <a:xfrm xmlns:a="http://schemas.openxmlformats.org/drawingml/2006/main" flipV="1">
          <a:off x="2057401" y="2743200"/>
          <a:ext cx="685800" cy="152400"/>
        </a:xfrm>
        <a:prstGeom xmlns:a="http://schemas.openxmlformats.org/drawingml/2006/main" prst="straightConnector1">
          <a:avLst/>
        </a:prstGeom>
        <a:ln xmlns:a="http://schemas.openxmlformats.org/drawingml/2006/main">
          <a:solidFill>
            <a:srgbClr val="00B050"/>
          </a:solidFill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 dirty="0"/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86726</cdr:x>
      <cdr:y>0.08065</cdr:y>
    </cdr:from>
    <cdr:to>
      <cdr:x>0.99115</cdr:x>
      <cdr:y>0.14516</cdr:y>
    </cdr:to>
    <cdr:sp macro="" textlink="">
      <cdr:nvSpPr>
        <cdr:cNvPr id="2" name="Скругленный прямоугольник 1"/>
        <cdr:cNvSpPr/>
      </cdr:nvSpPr>
      <cdr:spPr>
        <a:xfrm xmlns:a="http://schemas.openxmlformats.org/drawingml/2006/main">
          <a:off x="7467600" y="381023"/>
          <a:ext cx="1066800" cy="304771"/>
        </a:xfrm>
        <a:prstGeom xmlns:a="http://schemas.openxmlformats.org/drawingml/2006/main" prst="round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  <a:prstDash val="sysDot"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sz="1000" b="1" dirty="0" smtClean="0">
              <a:solidFill>
                <a:srgbClr val="00B050"/>
              </a:solidFill>
            </a:rPr>
            <a:t>+33 818,5</a:t>
          </a:r>
          <a:endParaRPr lang="ru-RU" sz="1000" b="1" dirty="0">
            <a:solidFill>
              <a:srgbClr val="00B050"/>
            </a:solidFill>
          </a:endParaRPr>
        </a:p>
      </cdr:txBody>
    </cdr:sp>
  </cdr:relSizeAnchor>
  <cdr:relSizeAnchor xmlns:cdr="http://schemas.openxmlformats.org/drawingml/2006/chartDrawing">
    <cdr:from>
      <cdr:x>0.53982</cdr:x>
      <cdr:y>0.17742</cdr:y>
    </cdr:from>
    <cdr:to>
      <cdr:x>0.64602</cdr:x>
      <cdr:y>0.24194</cdr:y>
    </cdr:to>
    <cdr:sp macro="" textlink="">
      <cdr:nvSpPr>
        <cdr:cNvPr id="3" name="Скругленный прямоугольник 2"/>
        <cdr:cNvSpPr/>
      </cdr:nvSpPr>
      <cdr:spPr>
        <a:xfrm xmlns:a="http://schemas.openxmlformats.org/drawingml/2006/main">
          <a:off x="4648200" y="838200"/>
          <a:ext cx="914430" cy="304818"/>
        </a:xfrm>
        <a:prstGeom xmlns:a="http://schemas.openxmlformats.org/drawingml/2006/main" prst="roundRect">
          <a:avLst/>
        </a:prstGeom>
        <a:solidFill xmlns:a="http://schemas.openxmlformats.org/drawingml/2006/main">
          <a:sysClr val="window" lastClr="FFFFFF"/>
        </a:solidFill>
        <a:ln xmlns:a="http://schemas.openxmlformats.org/drawingml/2006/main" w="25400" cap="flat" cmpd="sng" algn="ctr">
          <a:noFill/>
          <a:prstDash val="sysDot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Franklin Gothic Book"/>
            </a:defRPr>
          </a:lvl1pPr>
          <a:lvl2pPr marL="457200" indent="0">
            <a:defRPr sz="1100">
              <a:solidFill>
                <a:sysClr val="window" lastClr="FFFFFF"/>
              </a:solidFill>
              <a:latin typeface="Franklin Gothic Book"/>
            </a:defRPr>
          </a:lvl2pPr>
          <a:lvl3pPr marL="914400" indent="0">
            <a:defRPr sz="1100">
              <a:solidFill>
                <a:sysClr val="window" lastClr="FFFFFF"/>
              </a:solidFill>
              <a:latin typeface="Franklin Gothic Book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Franklin Gothic Book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Franklin Gothic Book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Franklin Gothic Book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Franklin Gothic Book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Franklin Gothic Book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Franklin Gothic Book"/>
            </a:defRPr>
          </a:lvl9pPr>
        </a:lstStyle>
        <a:p xmlns:a="http://schemas.openxmlformats.org/drawingml/2006/main">
          <a:r>
            <a:rPr lang="ru-RU" sz="1000" b="1" dirty="0" smtClean="0">
              <a:solidFill>
                <a:srgbClr val="00B050"/>
              </a:solidFill>
            </a:rPr>
            <a:t>+17 932,7</a:t>
          </a:r>
          <a:endParaRPr lang="ru-RU" sz="1000" b="1" dirty="0">
            <a:solidFill>
              <a:srgbClr val="00B050"/>
            </a:solidFill>
          </a:endParaRPr>
        </a:p>
      </cdr:txBody>
    </cdr:sp>
  </cdr:relSizeAnchor>
  <cdr:relSizeAnchor xmlns:cdr="http://schemas.openxmlformats.org/drawingml/2006/chartDrawing">
    <cdr:from>
      <cdr:x>0.49558</cdr:x>
      <cdr:y>0.29032</cdr:y>
    </cdr:from>
    <cdr:to>
      <cdr:x>0.59292</cdr:x>
      <cdr:y>0.35484</cdr:y>
    </cdr:to>
    <cdr:sp macro="" textlink="">
      <cdr:nvSpPr>
        <cdr:cNvPr id="4" name="Скругленный прямоугольник 3"/>
        <cdr:cNvSpPr/>
      </cdr:nvSpPr>
      <cdr:spPr>
        <a:xfrm xmlns:a="http://schemas.openxmlformats.org/drawingml/2006/main">
          <a:off x="4267200" y="1371600"/>
          <a:ext cx="838200" cy="304800"/>
        </a:xfrm>
        <a:prstGeom xmlns:a="http://schemas.openxmlformats.org/drawingml/2006/main" prst="roundRect">
          <a:avLst/>
        </a:prstGeom>
        <a:solidFill xmlns:a="http://schemas.openxmlformats.org/drawingml/2006/main">
          <a:sysClr val="window" lastClr="FFFFFF"/>
        </a:solidFill>
        <a:ln xmlns:a="http://schemas.openxmlformats.org/drawingml/2006/main" w="25400" cap="flat" cmpd="sng" algn="ctr">
          <a:noFill/>
          <a:prstDash val="sysDot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Franklin Gothic Book"/>
            </a:defRPr>
          </a:lvl1pPr>
          <a:lvl2pPr marL="457200" indent="0">
            <a:defRPr sz="1100">
              <a:solidFill>
                <a:sysClr val="window" lastClr="FFFFFF"/>
              </a:solidFill>
              <a:latin typeface="Franklin Gothic Book"/>
            </a:defRPr>
          </a:lvl2pPr>
          <a:lvl3pPr marL="914400" indent="0">
            <a:defRPr sz="1100">
              <a:solidFill>
                <a:sysClr val="window" lastClr="FFFFFF"/>
              </a:solidFill>
              <a:latin typeface="Franklin Gothic Book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Franklin Gothic Book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Franklin Gothic Book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Franklin Gothic Book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Franklin Gothic Book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Franklin Gothic Book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Franklin Gothic Book"/>
            </a:defRPr>
          </a:lvl9pPr>
        </a:lstStyle>
        <a:p xmlns:a="http://schemas.openxmlformats.org/drawingml/2006/main">
          <a:r>
            <a:rPr lang="ru-RU" sz="1000" b="1" dirty="0" smtClean="0">
              <a:solidFill>
                <a:srgbClr val="FF0000"/>
              </a:solidFill>
            </a:rPr>
            <a:t>- 2 353,2</a:t>
          </a:r>
          <a:endParaRPr lang="ru-RU" sz="10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48673</cdr:x>
      <cdr:y>0.38095</cdr:y>
    </cdr:from>
    <cdr:to>
      <cdr:x>0.57522</cdr:x>
      <cdr:y>0.44444</cdr:y>
    </cdr:to>
    <cdr:sp macro="" textlink="">
      <cdr:nvSpPr>
        <cdr:cNvPr id="5" name="Скругленный прямоугольник 4"/>
        <cdr:cNvSpPr/>
      </cdr:nvSpPr>
      <cdr:spPr>
        <a:xfrm xmlns:a="http://schemas.openxmlformats.org/drawingml/2006/main">
          <a:off x="4191000" y="1828800"/>
          <a:ext cx="762000" cy="304800"/>
        </a:xfrm>
        <a:prstGeom xmlns:a="http://schemas.openxmlformats.org/drawingml/2006/main" prst="roundRect">
          <a:avLst/>
        </a:prstGeom>
        <a:solidFill xmlns:a="http://schemas.openxmlformats.org/drawingml/2006/main">
          <a:sysClr val="window" lastClr="FFFFFF"/>
        </a:solidFill>
        <a:ln xmlns:a="http://schemas.openxmlformats.org/drawingml/2006/main" w="25400" cap="flat" cmpd="sng" algn="ctr">
          <a:noFill/>
          <a:prstDash val="sysDot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Franklin Gothic Book"/>
            </a:defRPr>
          </a:lvl1pPr>
          <a:lvl2pPr marL="457200" indent="0">
            <a:defRPr sz="1100">
              <a:solidFill>
                <a:sysClr val="window" lastClr="FFFFFF"/>
              </a:solidFill>
              <a:latin typeface="Franklin Gothic Book"/>
            </a:defRPr>
          </a:lvl2pPr>
          <a:lvl3pPr marL="914400" indent="0">
            <a:defRPr sz="1100">
              <a:solidFill>
                <a:sysClr val="window" lastClr="FFFFFF"/>
              </a:solidFill>
              <a:latin typeface="Franklin Gothic Book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Franklin Gothic Book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Franklin Gothic Book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Franklin Gothic Book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Franklin Gothic Book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Franklin Gothic Book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Franklin Gothic Book"/>
            </a:defRPr>
          </a:lvl9pPr>
        </a:lstStyle>
        <a:p xmlns:a="http://schemas.openxmlformats.org/drawingml/2006/main">
          <a:r>
            <a:rPr lang="ru-RU" sz="1000" b="1" dirty="0" smtClean="0">
              <a:solidFill>
                <a:srgbClr val="00B050"/>
              </a:solidFill>
            </a:rPr>
            <a:t>+5 548,2</a:t>
          </a:r>
          <a:endParaRPr lang="ru-RU" sz="1000" b="1" dirty="0">
            <a:solidFill>
              <a:srgbClr val="00B050"/>
            </a:solidFill>
          </a:endParaRPr>
        </a:p>
      </cdr:txBody>
    </cdr:sp>
  </cdr:relSizeAnchor>
  <cdr:relSizeAnchor xmlns:cdr="http://schemas.openxmlformats.org/drawingml/2006/chartDrawing">
    <cdr:from>
      <cdr:x>0.48673</cdr:x>
      <cdr:y>0.47619</cdr:y>
    </cdr:from>
    <cdr:to>
      <cdr:x>0.56637</cdr:x>
      <cdr:y>0.53968</cdr:y>
    </cdr:to>
    <cdr:sp macro="" textlink="">
      <cdr:nvSpPr>
        <cdr:cNvPr id="6" name="Скругленный прямоугольник 5"/>
        <cdr:cNvSpPr/>
      </cdr:nvSpPr>
      <cdr:spPr>
        <a:xfrm xmlns:a="http://schemas.openxmlformats.org/drawingml/2006/main">
          <a:off x="4191000" y="2286000"/>
          <a:ext cx="685800" cy="304800"/>
        </a:xfrm>
        <a:prstGeom xmlns:a="http://schemas.openxmlformats.org/drawingml/2006/main" prst="roundRect">
          <a:avLst/>
        </a:prstGeom>
        <a:solidFill xmlns:a="http://schemas.openxmlformats.org/drawingml/2006/main">
          <a:sysClr val="window" lastClr="FFFFFF"/>
        </a:solidFill>
        <a:ln xmlns:a="http://schemas.openxmlformats.org/drawingml/2006/main" w="25400" cap="flat" cmpd="sng" algn="ctr">
          <a:noFill/>
          <a:prstDash val="sysDot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Franklin Gothic Book"/>
            </a:defRPr>
          </a:lvl1pPr>
          <a:lvl2pPr marL="457200" indent="0">
            <a:defRPr sz="1100">
              <a:solidFill>
                <a:sysClr val="window" lastClr="FFFFFF"/>
              </a:solidFill>
              <a:latin typeface="Franklin Gothic Book"/>
            </a:defRPr>
          </a:lvl2pPr>
          <a:lvl3pPr marL="914400" indent="0">
            <a:defRPr sz="1100">
              <a:solidFill>
                <a:sysClr val="window" lastClr="FFFFFF"/>
              </a:solidFill>
              <a:latin typeface="Franklin Gothic Book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Franklin Gothic Book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Franklin Gothic Book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Franklin Gothic Book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Franklin Gothic Book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Franklin Gothic Book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Franklin Gothic Book"/>
            </a:defRPr>
          </a:lvl9pPr>
        </a:lstStyle>
        <a:p xmlns:a="http://schemas.openxmlformats.org/drawingml/2006/main">
          <a:r>
            <a:rPr lang="ru-RU" sz="1000" b="1" dirty="0" smtClean="0">
              <a:solidFill>
                <a:srgbClr val="FF0000"/>
              </a:solidFill>
            </a:rPr>
            <a:t>- 109,8</a:t>
          </a:r>
          <a:endParaRPr lang="ru-RU" sz="10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53097</cdr:x>
      <cdr:y>0.57143</cdr:y>
    </cdr:from>
    <cdr:to>
      <cdr:x>0.62832</cdr:x>
      <cdr:y>0.63492</cdr:y>
    </cdr:to>
    <cdr:sp macro="" textlink="">
      <cdr:nvSpPr>
        <cdr:cNvPr id="7" name="Скругленный прямоугольник 6"/>
        <cdr:cNvSpPr/>
      </cdr:nvSpPr>
      <cdr:spPr>
        <a:xfrm xmlns:a="http://schemas.openxmlformats.org/drawingml/2006/main">
          <a:off x="4572000" y="2743200"/>
          <a:ext cx="838200" cy="304800"/>
        </a:xfrm>
        <a:prstGeom xmlns:a="http://schemas.openxmlformats.org/drawingml/2006/main" prst="roundRect">
          <a:avLst/>
        </a:prstGeom>
        <a:solidFill xmlns:a="http://schemas.openxmlformats.org/drawingml/2006/main">
          <a:sysClr val="window" lastClr="FFFFFF"/>
        </a:solidFill>
        <a:ln xmlns:a="http://schemas.openxmlformats.org/drawingml/2006/main" w="25400" cap="flat" cmpd="sng" algn="ctr">
          <a:noFill/>
          <a:prstDash val="sysDot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Franklin Gothic Book"/>
            </a:defRPr>
          </a:lvl1pPr>
          <a:lvl2pPr marL="457200" indent="0">
            <a:defRPr sz="1100">
              <a:solidFill>
                <a:sysClr val="window" lastClr="FFFFFF"/>
              </a:solidFill>
              <a:latin typeface="Franklin Gothic Book"/>
            </a:defRPr>
          </a:lvl2pPr>
          <a:lvl3pPr marL="914400" indent="0">
            <a:defRPr sz="1100">
              <a:solidFill>
                <a:sysClr val="window" lastClr="FFFFFF"/>
              </a:solidFill>
              <a:latin typeface="Franklin Gothic Book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Franklin Gothic Book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Franklin Gothic Book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Franklin Gothic Book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Franklin Gothic Book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Franklin Gothic Book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Franklin Gothic Book"/>
            </a:defRPr>
          </a:lvl9pPr>
        </a:lstStyle>
        <a:p xmlns:a="http://schemas.openxmlformats.org/drawingml/2006/main">
          <a:r>
            <a:rPr lang="ru-RU" sz="1000" b="1" dirty="0" smtClean="0">
              <a:solidFill>
                <a:srgbClr val="00B050"/>
              </a:solidFill>
            </a:rPr>
            <a:t>+3 992,5</a:t>
          </a:r>
          <a:endParaRPr lang="ru-RU" sz="1000" b="1" dirty="0">
            <a:solidFill>
              <a:srgbClr val="00B050"/>
            </a:solidFill>
          </a:endParaRPr>
        </a:p>
      </cdr:txBody>
    </cdr:sp>
  </cdr:relSizeAnchor>
  <cdr:relSizeAnchor xmlns:cdr="http://schemas.openxmlformats.org/drawingml/2006/chartDrawing">
    <cdr:from>
      <cdr:x>0.48673</cdr:x>
      <cdr:y>0.77778</cdr:y>
    </cdr:from>
    <cdr:to>
      <cdr:x>0.57522</cdr:x>
      <cdr:y>0.84127</cdr:y>
    </cdr:to>
    <cdr:sp macro="" textlink="">
      <cdr:nvSpPr>
        <cdr:cNvPr id="8" name="Скругленный прямоугольник 7"/>
        <cdr:cNvSpPr/>
      </cdr:nvSpPr>
      <cdr:spPr>
        <a:xfrm xmlns:a="http://schemas.openxmlformats.org/drawingml/2006/main">
          <a:off x="4191000" y="3733800"/>
          <a:ext cx="762000" cy="304800"/>
        </a:xfrm>
        <a:prstGeom xmlns:a="http://schemas.openxmlformats.org/drawingml/2006/main" prst="roundRect">
          <a:avLst/>
        </a:prstGeom>
        <a:solidFill xmlns:a="http://schemas.openxmlformats.org/drawingml/2006/main">
          <a:sysClr val="window" lastClr="FFFFFF"/>
        </a:solidFill>
        <a:ln xmlns:a="http://schemas.openxmlformats.org/drawingml/2006/main" w="25400" cap="flat" cmpd="sng" algn="ctr">
          <a:noFill/>
          <a:prstDash val="sysDot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Franklin Gothic Book"/>
            </a:defRPr>
          </a:lvl1pPr>
          <a:lvl2pPr marL="457200" indent="0">
            <a:defRPr sz="1100">
              <a:solidFill>
                <a:sysClr val="window" lastClr="FFFFFF"/>
              </a:solidFill>
              <a:latin typeface="Franklin Gothic Book"/>
            </a:defRPr>
          </a:lvl2pPr>
          <a:lvl3pPr marL="914400" indent="0">
            <a:defRPr sz="1100">
              <a:solidFill>
                <a:sysClr val="window" lastClr="FFFFFF"/>
              </a:solidFill>
              <a:latin typeface="Franklin Gothic Book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Franklin Gothic Book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Franklin Gothic Book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Franklin Gothic Book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Franklin Gothic Book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Franklin Gothic Book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Franklin Gothic Book"/>
            </a:defRPr>
          </a:lvl9pPr>
        </a:lstStyle>
        <a:p xmlns:a="http://schemas.openxmlformats.org/drawingml/2006/main">
          <a:r>
            <a:rPr lang="ru-RU" sz="1000" b="1" dirty="0" smtClean="0">
              <a:solidFill>
                <a:srgbClr val="FF0000"/>
              </a:solidFill>
            </a:rPr>
            <a:t>- 1 964,7</a:t>
          </a:r>
          <a:endParaRPr lang="ru-RU" sz="10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48673</cdr:x>
      <cdr:y>0.68254</cdr:y>
    </cdr:from>
    <cdr:to>
      <cdr:x>0.57522</cdr:x>
      <cdr:y>0.74603</cdr:y>
    </cdr:to>
    <cdr:sp macro="" textlink="">
      <cdr:nvSpPr>
        <cdr:cNvPr id="9" name="Скругленный прямоугольник 8"/>
        <cdr:cNvSpPr/>
      </cdr:nvSpPr>
      <cdr:spPr>
        <a:xfrm xmlns:a="http://schemas.openxmlformats.org/drawingml/2006/main">
          <a:off x="4191000" y="3276600"/>
          <a:ext cx="762000" cy="304800"/>
        </a:xfrm>
        <a:prstGeom xmlns:a="http://schemas.openxmlformats.org/drawingml/2006/main" prst="roundRect">
          <a:avLst/>
        </a:prstGeom>
        <a:solidFill xmlns:a="http://schemas.openxmlformats.org/drawingml/2006/main">
          <a:sysClr val="window" lastClr="FFFFFF"/>
        </a:solidFill>
        <a:ln xmlns:a="http://schemas.openxmlformats.org/drawingml/2006/main" w="25400" cap="flat" cmpd="sng" algn="ctr">
          <a:noFill/>
          <a:prstDash val="sysDot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Franklin Gothic Book"/>
            </a:defRPr>
          </a:lvl1pPr>
          <a:lvl2pPr marL="457200" indent="0">
            <a:defRPr sz="1100">
              <a:solidFill>
                <a:sysClr val="window" lastClr="FFFFFF"/>
              </a:solidFill>
              <a:latin typeface="Franklin Gothic Book"/>
            </a:defRPr>
          </a:lvl2pPr>
          <a:lvl3pPr marL="914400" indent="0">
            <a:defRPr sz="1100">
              <a:solidFill>
                <a:sysClr val="window" lastClr="FFFFFF"/>
              </a:solidFill>
              <a:latin typeface="Franklin Gothic Book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Franklin Gothic Book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Franklin Gothic Book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Franklin Gothic Book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Franklin Gothic Book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Franklin Gothic Book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Franklin Gothic Book"/>
            </a:defRPr>
          </a:lvl9pPr>
        </a:lstStyle>
        <a:p xmlns:a="http://schemas.openxmlformats.org/drawingml/2006/main">
          <a:r>
            <a:rPr lang="ru-RU" sz="1000" b="1" dirty="0" smtClean="0">
              <a:solidFill>
                <a:srgbClr val="00B050"/>
              </a:solidFill>
            </a:rPr>
            <a:t>+1 323,5</a:t>
          </a:r>
          <a:endParaRPr lang="ru-RU" sz="1000" b="1" dirty="0">
            <a:solidFill>
              <a:srgbClr val="00B050"/>
            </a:solidFill>
          </a:endParaRPr>
        </a:p>
      </cdr:txBody>
    </cdr:sp>
  </cdr:relSizeAnchor>
  <cdr:relSizeAnchor xmlns:cdr="http://schemas.openxmlformats.org/drawingml/2006/chartDrawing">
    <cdr:from>
      <cdr:x>0.47788</cdr:x>
      <cdr:y>0.88889</cdr:y>
    </cdr:from>
    <cdr:to>
      <cdr:x>0.54867</cdr:x>
      <cdr:y>0.95238</cdr:y>
    </cdr:to>
    <cdr:sp macro="" textlink="">
      <cdr:nvSpPr>
        <cdr:cNvPr id="10" name="Скругленный прямоугольник 9"/>
        <cdr:cNvSpPr/>
      </cdr:nvSpPr>
      <cdr:spPr>
        <a:xfrm xmlns:a="http://schemas.openxmlformats.org/drawingml/2006/main">
          <a:off x="4114800" y="4267200"/>
          <a:ext cx="609600" cy="304800"/>
        </a:xfrm>
        <a:prstGeom xmlns:a="http://schemas.openxmlformats.org/drawingml/2006/main" prst="roundRect">
          <a:avLst/>
        </a:prstGeom>
        <a:solidFill xmlns:a="http://schemas.openxmlformats.org/drawingml/2006/main">
          <a:sysClr val="window" lastClr="FFFFFF"/>
        </a:solidFill>
        <a:ln xmlns:a="http://schemas.openxmlformats.org/drawingml/2006/main" w="25400" cap="flat" cmpd="sng" algn="ctr">
          <a:noFill/>
          <a:prstDash val="sysDot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Franklin Gothic Book"/>
            </a:defRPr>
          </a:lvl1pPr>
          <a:lvl2pPr marL="457200" indent="0">
            <a:defRPr sz="1100">
              <a:solidFill>
                <a:sysClr val="window" lastClr="FFFFFF"/>
              </a:solidFill>
              <a:latin typeface="Franklin Gothic Book"/>
            </a:defRPr>
          </a:lvl2pPr>
          <a:lvl3pPr marL="914400" indent="0">
            <a:defRPr sz="1100">
              <a:solidFill>
                <a:sysClr val="window" lastClr="FFFFFF"/>
              </a:solidFill>
              <a:latin typeface="Franklin Gothic Book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Franklin Gothic Book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Franklin Gothic Book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Franklin Gothic Book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Franklin Gothic Book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Franklin Gothic Book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Franklin Gothic Book"/>
            </a:defRPr>
          </a:lvl9pPr>
        </a:lstStyle>
        <a:p xmlns:a="http://schemas.openxmlformats.org/drawingml/2006/main">
          <a:r>
            <a:rPr lang="ru-RU" sz="1000" b="1" dirty="0" smtClean="0">
              <a:solidFill>
                <a:srgbClr val="FF0000"/>
              </a:solidFill>
            </a:rPr>
            <a:t>- 57,5</a:t>
          </a:r>
          <a:endParaRPr lang="ru-RU" sz="1000" b="1" dirty="0">
            <a:solidFill>
              <a:srgbClr val="FF0000"/>
            </a:solidFill>
          </a:endParaRPr>
        </a:p>
      </cdr:txBody>
    </cdr:sp>
  </cdr:relSizeAnchor>
  <cdr:relSizeAnchor xmlns:cdr="http://schemas.openxmlformats.org/drawingml/2006/chartDrawing">
    <cdr:from>
      <cdr:x>0.70642</cdr:x>
      <cdr:y>0.26667</cdr:y>
    </cdr:from>
    <cdr:to>
      <cdr:x>1</cdr:x>
      <cdr:y>0.55</cdr:y>
    </cdr:to>
    <cdr:sp macro="" textlink="">
      <cdr:nvSpPr>
        <cdr:cNvPr id="11" name="Скругленный прямоугольник 10"/>
        <cdr:cNvSpPr/>
      </cdr:nvSpPr>
      <cdr:spPr>
        <a:xfrm xmlns:a="http://schemas.openxmlformats.org/drawingml/2006/main">
          <a:off x="6082700" y="1259856"/>
          <a:ext cx="2527900" cy="1338564"/>
        </a:xfrm>
        <a:prstGeom xmlns:a="http://schemas.openxmlformats.org/drawingml/2006/main" prst="roundRect">
          <a:avLst/>
        </a:prstGeom>
        <a:noFill xmlns:a="http://schemas.openxmlformats.org/drawingml/2006/main"/>
        <a:ln xmlns:a="http://schemas.openxmlformats.org/drawingml/2006/main" w="28575" cap="flat" cmpd="sng" algn="ctr">
          <a:solidFill>
            <a:srgbClr val="F0A22E">
              <a:shade val="50000"/>
            </a:srgbClr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Franklin Gothic Book"/>
            </a:defRPr>
          </a:lvl1pPr>
          <a:lvl2pPr marL="457200" indent="0">
            <a:defRPr sz="1100">
              <a:solidFill>
                <a:sysClr val="window" lastClr="FFFFFF"/>
              </a:solidFill>
              <a:latin typeface="Franklin Gothic Book"/>
            </a:defRPr>
          </a:lvl2pPr>
          <a:lvl3pPr marL="914400" indent="0">
            <a:defRPr sz="1100">
              <a:solidFill>
                <a:sysClr val="window" lastClr="FFFFFF"/>
              </a:solidFill>
              <a:latin typeface="Franklin Gothic Book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Franklin Gothic Book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Franklin Gothic Book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Franklin Gothic Book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Franklin Gothic Book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Franklin Gothic Book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Franklin Gothic Book"/>
            </a:defRPr>
          </a:lvl9pPr>
        </a:lstStyle>
        <a:p xmlns:a="http://schemas.openxmlformats.org/drawingml/2006/main">
          <a:r>
            <a:rPr lang="ru-RU" sz="1200" b="1" dirty="0" smtClean="0">
              <a:solidFill>
                <a:srgbClr val="7030A0"/>
              </a:solidFill>
            </a:rPr>
            <a:t>Поступление налоговых и неналоговых доходов в 2017 году 485 313,7 тыс. рублей или  </a:t>
          </a:r>
          <a:r>
            <a:rPr lang="ru-RU" sz="1200" b="1" dirty="0" smtClean="0">
              <a:solidFill>
                <a:srgbClr val="00B050"/>
              </a:solidFill>
            </a:rPr>
            <a:t>+ 58 130,2 </a:t>
          </a:r>
          <a:r>
            <a:rPr lang="ru-RU" sz="1200" b="1" dirty="0" smtClean="0">
              <a:solidFill>
                <a:srgbClr val="7030A0"/>
              </a:solidFill>
            </a:rPr>
            <a:t>тыс. рублей (+13,6%) к уровню  2016 года (427 183,5 тыс. рублей)</a:t>
          </a:r>
          <a:endParaRPr lang="ru-RU" sz="1200" b="1" dirty="0">
            <a:solidFill>
              <a:srgbClr val="7030A0"/>
            </a:solidFill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72893</cdr:x>
      <cdr:y>0.24194</cdr:y>
    </cdr:from>
    <cdr:to>
      <cdr:x>1</cdr:x>
      <cdr:y>0.54839</cdr:y>
    </cdr:to>
    <cdr:sp macro="" textlink="">
      <cdr:nvSpPr>
        <cdr:cNvPr id="2" name="Скругленный прямоугольник 1"/>
        <cdr:cNvSpPr/>
      </cdr:nvSpPr>
      <cdr:spPr>
        <a:xfrm xmlns:a="http://schemas.openxmlformats.org/drawingml/2006/main">
          <a:off x="6387636" y="1143001"/>
          <a:ext cx="2375364" cy="1447799"/>
        </a:xfrm>
        <a:prstGeom xmlns:a="http://schemas.openxmlformats.org/drawingml/2006/main" prst="roundRect">
          <a:avLst/>
        </a:prstGeom>
        <a:noFill xmlns:a="http://schemas.openxmlformats.org/drawingml/2006/main"/>
        <a:ln xmlns:a="http://schemas.openxmlformats.org/drawingml/2006/main" w="28575" cap="flat" cmpd="sng" algn="ctr">
          <a:solidFill>
            <a:srgbClr val="F0A22E">
              <a:shade val="50000"/>
            </a:srgbClr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Franklin Gothic Book"/>
            </a:defRPr>
          </a:lvl1pPr>
          <a:lvl2pPr marL="457200" indent="0">
            <a:defRPr sz="1100">
              <a:solidFill>
                <a:sysClr val="window" lastClr="FFFFFF"/>
              </a:solidFill>
              <a:latin typeface="Franklin Gothic Book"/>
            </a:defRPr>
          </a:lvl2pPr>
          <a:lvl3pPr marL="914400" indent="0">
            <a:defRPr sz="1100">
              <a:solidFill>
                <a:sysClr val="window" lastClr="FFFFFF"/>
              </a:solidFill>
              <a:latin typeface="Franklin Gothic Book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Franklin Gothic Book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Franklin Gothic Book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Franklin Gothic Book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Franklin Gothic Book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Franklin Gothic Book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Franklin Gothic Book"/>
            </a:defRPr>
          </a:lvl9pPr>
        </a:lstStyle>
        <a:p xmlns:a="http://schemas.openxmlformats.org/drawingml/2006/main">
          <a:r>
            <a:rPr lang="ru-RU" sz="1200" b="1" dirty="0" smtClean="0">
              <a:solidFill>
                <a:srgbClr val="7030A0"/>
              </a:solidFill>
            </a:rPr>
            <a:t>Поступление безвозмездных поступлений в 2017 году           1 336 505,7 тыс. рублей или   </a:t>
          </a:r>
          <a:r>
            <a:rPr lang="ru-RU" sz="1200" b="1" dirty="0" smtClean="0">
              <a:solidFill>
                <a:srgbClr val="00B050"/>
              </a:solidFill>
            </a:rPr>
            <a:t>+ 174 598,6 </a:t>
          </a:r>
          <a:r>
            <a:rPr lang="ru-RU" sz="1200" b="1" dirty="0" smtClean="0">
              <a:solidFill>
                <a:srgbClr val="7030A0"/>
              </a:solidFill>
            </a:rPr>
            <a:t>тыс. рублей (+15,0%) к уровню  2016 года       1 161 907,1 тыс. рублей</a:t>
          </a:r>
          <a:endParaRPr lang="ru-RU" sz="1200" b="1" dirty="0">
            <a:solidFill>
              <a:srgbClr val="7030A0"/>
            </a:solidFill>
          </a:endParaRPr>
        </a:p>
      </cdr:txBody>
    </cdr:sp>
  </cdr:relSizeAnchor>
  <cdr:relSizeAnchor xmlns:cdr="http://schemas.openxmlformats.org/drawingml/2006/chartDrawing">
    <cdr:from>
      <cdr:x>0.92241</cdr:x>
      <cdr:y>0.11667</cdr:y>
    </cdr:from>
    <cdr:to>
      <cdr:x>1</cdr:x>
      <cdr:y>0.18333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8293976" y="533400"/>
          <a:ext cx="697624" cy="304800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r>
            <a:rPr lang="ru-RU" sz="1000" b="1" dirty="0" smtClean="0">
              <a:solidFill>
                <a:srgbClr val="00B050"/>
              </a:solidFill>
            </a:rPr>
            <a:t>+29691,5</a:t>
          </a:r>
          <a:endParaRPr lang="ru-RU" sz="1000" b="1" dirty="0">
            <a:solidFill>
              <a:srgbClr val="00B050"/>
            </a:solidFill>
          </a:endParaRPr>
        </a:p>
      </cdr:txBody>
    </cdr:sp>
  </cdr:relSizeAnchor>
  <cdr:relSizeAnchor xmlns:cdr="http://schemas.openxmlformats.org/drawingml/2006/chartDrawing">
    <cdr:from>
      <cdr:x>0.47826</cdr:x>
      <cdr:y>0.78333</cdr:y>
    </cdr:from>
    <cdr:to>
      <cdr:x>0.55652</cdr:x>
      <cdr:y>0.85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4300323" y="3581400"/>
          <a:ext cx="703682" cy="304799"/>
        </a:xfrm>
        <a:prstGeom xmlns:a="http://schemas.openxmlformats.org/drawingml/2006/main" prst="rect">
          <a:avLst/>
        </a:prstGeom>
        <a:solidFill xmlns:a="http://schemas.openxmlformats.org/drawingml/2006/main">
          <a:sysClr val="window" lastClr="FFFFFF"/>
        </a:solidFill>
        <a:ln xmlns:a="http://schemas.openxmlformats.org/drawingml/2006/main" w="25400" cap="flat" cmpd="sng" algn="ctr">
          <a:noFill/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Franklin Gothic Book"/>
            </a:defRPr>
          </a:lvl1pPr>
          <a:lvl2pPr marL="457200" indent="0">
            <a:defRPr sz="1100">
              <a:solidFill>
                <a:sysClr val="window" lastClr="FFFFFF"/>
              </a:solidFill>
              <a:latin typeface="Franklin Gothic Book"/>
            </a:defRPr>
          </a:lvl2pPr>
          <a:lvl3pPr marL="914400" indent="0">
            <a:defRPr sz="1100">
              <a:solidFill>
                <a:sysClr val="window" lastClr="FFFFFF"/>
              </a:solidFill>
              <a:latin typeface="Franklin Gothic Book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Franklin Gothic Book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Franklin Gothic Book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Franklin Gothic Book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Franklin Gothic Book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Franklin Gothic Book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Franklin Gothic Book"/>
            </a:defRPr>
          </a:lvl9pPr>
        </a:lstStyle>
        <a:p xmlns:a="http://schemas.openxmlformats.org/drawingml/2006/main">
          <a:r>
            <a:rPr lang="ru-RU" sz="1000" b="1" dirty="0" smtClean="0">
              <a:solidFill>
                <a:srgbClr val="00B050"/>
              </a:solidFill>
            </a:rPr>
            <a:t>+1 854,0</a:t>
          </a:r>
          <a:endParaRPr lang="ru-RU" sz="1000" b="1" dirty="0">
            <a:solidFill>
              <a:srgbClr val="00B050"/>
            </a:solidFill>
          </a:endParaRPr>
        </a:p>
      </cdr:txBody>
    </cdr:sp>
  </cdr:relSizeAnchor>
  <cdr:relSizeAnchor xmlns:cdr="http://schemas.openxmlformats.org/drawingml/2006/chartDrawing">
    <cdr:from>
      <cdr:x>0.47826</cdr:x>
      <cdr:y>0.65</cdr:y>
    </cdr:from>
    <cdr:to>
      <cdr:x>0.56522</cdr:x>
      <cdr:y>0.71667</cdr:y>
    </cdr:to>
    <cdr:sp macro="" textlink="">
      <cdr:nvSpPr>
        <cdr:cNvPr id="5" name="Прямоугольник 4"/>
        <cdr:cNvSpPr/>
      </cdr:nvSpPr>
      <cdr:spPr>
        <a:xfrm xmlns:a="http://schemas.openxmlformats.org/drawingml/2006/main">
          <a:off x="4300323" y="2971800"/>
          <a:ext cx="781909" cy="304800"/>
        </a:xfrm>
        <a:prstGeom xmlns:a="http://schemas.openxmlformats.org/drawingml/2006/main" prst="rect">
          <a:avLst/>
        </a:prstGeom>
        <a:solidFill xmlns:a="http://schemas.openxmlformats.org/drawingml/2006/main">
          <a:sysClr val="window" lastClr="FFFFFF"/>
        </a:solidFill>
        <a:ln xmlns:a="http://schemas.openxmlformats.org/drawingml/2006/main" w="25400" cap="flat" cmpd="sng" algn="ctr">
          <a:noFill/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Franklin Gothic Book"/>
            </a:defRPr>
          </a:lvl1pPr>
          <a:lvl2pPr marL="457200" indent="0">
            <a:defRPr sz="1100">
              <a:solidFill>
                <a:sysClr val="window" lastClr="FFFFFF"/>
              </a:solidFill>
              <a:latin typeface="Franklin Gothic Book"/>
            </a:defRPr>
          </a:lvl2pPr>
          <a:lvl3pPr marL="914400" indent="0">
            <a:defRPr sz="1100">
              <a:solidFill>
                <a:sysClr val="window" lastClr="FFFFFF"/>
              </a:solidFill>
              <a:latin typeface="Franklin Gothic Book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Franklin Gothic Book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Franklin Gothic Book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Franklin Gothic Book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Franklin Gothic Book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Franklin Gothic Book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Franklin Gothic Book"/>
            </a:defRPr>
          </a:lvl9pPr>
        </a:lstStyle>
        <a:p xmlns:a="http://schemas.openxmlformats.org/drawingml/2006/main">
          <a:r>
            <a:rPr lang="ru-RU" sz="1000" b="1" dirty="0" smtClean="0">
              <a:solidFill>
                <a:srgbClr val="00B050"/>
              </a:solidFill>
            </a:rPr>
            <a:t>+1 891,9</a:t>
          </a:r>
          <a:endParaRPr lang="ru-RU" sz="1000" b="1" dirty="0">
            <a:solidFill>
              <a:srgbClr val="00B050"/>
            </a:solidFill>
          </a:endParaRPr>
        </a:p>
      </cdr:txBody>
    </cdr:sp>
  </cdr:relSizeAnchor>
  <cdr:relSizeAnchor xmlns:cdr="http://schemas.openxmlformats.org/drawingml/2006/chartDrawing">
    <cdr:from>
      <cdr:x>0.48696</cdr:x>
      <cdr:y>0.51667</cdr:y>
    </cdr:from>
    <cdr:to>
      <cdr:x>0.57391</cdr:x>
      <cdr:y>0.58333</cdr:y>
    </cdr:to>
    <cdr:sp macro="" textlink="">
      <cdr:nvSpPr>
        <cdr:cNvPr id="6" name="Прямоугольник 5"/>
        <cdr:cNvSpPr/>
      </cdr:nvSpPr>
      <cdr:spPr>
        <a:xfrm xmlns:a="http://schemas.openxmlformats.org/drawingml/2006/main">
          <a:off x="4378550" y="2362200"/>
          <a:ext cx="781819" cy="304800"/>
        </a:xfrm>
        <a:prstGeom xmlns:a="http://schemas.openxmlformats.org/drawingml/2006/main" prst="rect">
          <a:avLst/>
        </a:prstGeom>
        <a:solidFill xmlns:a="http://schemas.openxmlformats.org/drawingml/2006/main">
          <a:sysClr val="window" lastClr="FFFFFF"/>
        </a:solidFill>
        <a:ln xmlns:a="http://schemas.openxmlformats.org/drawingml/2006/main" w="25400" cap="flat" cmpd="sng" algn="ctr">
          <a:noFill/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Franklin Gothic Book"/>
            </a:defRPr>
          </a:lvl1pPr>
          <a:lvl2pPr marL="457200" indent="0">
            <a:defRPr sz="1100">
              <a:solidFill>
                <a:sysClr val="window" lastClr="FFFFFF"/>
              </a:solidFill>
              <a:latin typeface="Franklin Gothic Book"/>
            </a:defRPr>
          </a:lvl2pPr>
          <a:lvl3pPr marL="914400" indent="0">
            <a:defRPr sz="1100">
              <a:solidFill>
                <a:sysClr val="window" lastClr="FFFFFF"/>
              </a:solidFill>
              <a:latin typeface="Franklin Gothic Book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Franklin Gothic Book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Franklin Gothic Book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Franklin Gothic Book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Franklin Gothic Book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Franklin Gothic Book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Franklin Gothic Book"/>
            </a:defRPr>
          </a:lvl9pPr>
        </a:lstStyle>
        <a:p xmlns:a="http://schemas.openxmlformats.org/drawingml/2006/main">
          <a:r>
            <a:rPr lang="ru-RU" sz="1000" b="1" dirty="0" smtClean="0">
              <a:solidFill>
                <a:srgbClr val="00B050"/>
              </a:solidFill>
            </a:rPr>
            <a:t>+ 481,7</a:t>
          </a:r>
          <a:endParaRPr lang="ru-RU" sz="1000" b="1" dirty="0">
            <a:solidFill>
              <a:srgbClr val="00B050"/>
            </a:solidFill>
          </a:endParaRPr>
        </a:p>
      </cdr:txBody>
    </cdr:sp>
  </cdr:relSizeAnchor>
  <cdr:relSizeAnchor xmlns:cdr="http://schemas.openxmlformats.org/drawingml/2006/chartDrawing">
    <cdr:from>
      <cdr:x>0.49153</cdr:x>
      <cdr:y>0.36667</cdr:y>
    </cdr:from>
    <cdr:to>
      <cdr:x>0.58261</cdr:x>
      <cdr:y>0.43333</cdr:y>
    </cdr:to>
    <cdr:sp macro="" textlink="">
      <cdr:nvSpPr>
        <cdr:cNvPr id="7" name="Прямоугольник 6"/>
        <cdr:cNvSpPr/>
      </cdr:nvSpPr>
      <cdr:spPr>
        <a:xfrm xmlns:a="http://schemas.openxmlformats.org/drawingml/2006/main">
          <a:off x="4419600" y="1676415"/>
          <a:ext cx="818996" cy="304770"/>
        </a:xfrm>
        <a:prstGeom xmlns:a="http://schemas.openxmlformats.org/drawingml/2006/main" prst="rect">
          <a:avLst/>
        </a:prstGeom>
        <a:solidFill xmlns:a="http://schemas.openxmlformats.org/drawingml/2006/main">
          <a:sysClr val="window" lastClr="FFFFFF"/>
        </a:solidFill>
        <a:ln xmlns:a="http://schemas.openxmlformats.org/drawingml/2006/main" w="25400" cap="flat" cmpd="sng" algn="ctr">
          <a:noFill/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Franklin Gothic Book"/>
            </a:defRPr>
          </a:lvl1pPr>
          <a:lvl2pPr marL="457200" indent="0">
            <a:defRPr sz="1100">
              <a:solidFill>
                <a:sysClr val="window" lastClr="FFFFFF"/>
              </a:solidFill>
              <a:latin typeface="Franklin Gothic Book"/>
            </a:defRPr>
          </a:lvl2pPr>
          <a:lvl3pPr marL="914400" indent="0">
            <a:defRPr sz="1100">
              <a:solidFill>
                <a:sysClr val="window" lastClr="FFFFFF"/>
              </a:solidFill>
              <a:latin typeface="Franklin Gothic Book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Franklin Gothic Book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Franklin Gothic Book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Franklin Gothic Book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Franklin Gothic Book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Franklin Gothic Book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Franklin Gothic Book"/>
            </a:defRPr>
          </a:lvl9pPr>
        </a:lstStyle>
        <a:p xmlns:a="http://schemas.openxmlformats.org/drawingml/2006/main">
          <a:r>
            <a:rPr lang="ru-RU" sz="1000" b="1" dirty="0" smtClean="0">
              <a:solidFill>
                <a:srgbClr val="00B050"/>
              </a:solidFill>
            </a:rPr>
            <a:t>+ 45 984,0</a:t>
          </a:r>
          <a:endParaRPr lang="ru-RU" sz="1000" b="1" dirty="0">
            <a:solidFill>
              <a:srgbClr val="00B050"/>
            </a:solidFill>
          </a:endParaRPr>
        </a:p>
      </cdr:txBody>
    </cdr:sp>
  </cdr:relSizeAnchor>
  <cdr:relSizeAnchor xmlns:cdr="http://schemas.openxmlformats.org/drawingml/2006/chartDrawing">
    <cdr:from>
      <cdr:x>0.60169</cdr:x>
      <cdr:y>0.23333</cdr:y>
    </cdr:from>
    <cdr:to>
      <cdr:x>0.71186</cdr:x>
      <cdr:y>0.3</cdr:y>
    </cdr:to>
    <cdr:sp macro="" textlink="">
      <cdr:nvSpPr>
        <cdr:cNvPr id="8" name="Прямоугольник 7"/>
        <cdr:cNvSpPr/>
      </cdr:nvSpPr>
      <cdr:spPr>
        <a:xfrm xmlns:a="http://schemas.openxmlformats.org/drawingml/2006/main">
          <a:off x="5410200" y="1066785"/>
          <a:ext cx="990600" cy="304815"/>
        </a:xfrm>
        <a:prstGeom xmlns:a="http://schemas.openxmlformats.org/drawingml/2006/main" prst="rect">
          <a:avLst/>
        </a:prstGeom>
        <a:solidFill xmlns:a="http://schemas.openxmlformats.org/drawingml/2006/main">
          <a:sysClr val="window" lastClr="FFFFFF"/>
        </a:solidFill>
        <a:ln xmlns:a="http://schemas.openxmlformats.org/drawingml/2006/main" w="25400" cap="flat" cmpd="sng" algn="ctr">
          <a:noFill/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Franklin Gothic Book"/>
            </a:defRPr>
          </a:lvl1pPr>
          <a:lvl2pPr marL="457200" indent="0">
            <a:defRPr sz="1100">
              <a:solidFill>
                <a:sysClr val="window" lastClr="FFFFFF"/>
              </a:solidFill>
              <a:latin typeface="Franklin Gothic Book"/>
            </a:defRPr>
          </a:lvl2pPr>
          <a:lvl3pPr marL="914400" indent="0">
            <a:defRPr sz="1100">
              <a:solidFill>
                <a:sysClr val="window" lastClr="FFFFFF"/>
              </a:solidFill>
              <a:latin typeface="Franklin Gothic Book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Franklin Gothic Book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Franklin Gothic Book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Franklin Gothic Book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Franklin Gothic Book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Franklin Gothic Book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Franklin Gothic Book"/>
            </a:defRPr>
          </a:lvl9pPr>
        </a:lstStyle>
        <a:p xmlns:a="http://schemas.openxmlformats.org/drawingml/2006/main">
          <a:r>
            <a:rPr lang="ru-RU" sz="1000" b="1" dirty="0" smtClean="0">
              <a:solidFill>
                <a:srgbClr val="00B050"/>
              </a:solidFill>
            </a:rPr>
            <a:t>+ 98 404,2</a:t>
          </a:r>
          <a:endParaRPr lang="ru-RU" sz="1000" b="1" dirty="0">
            <a:solidFill>
              <a:srgbClr val="00B050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5AC07E-6EE8-4626-BF9B-8C286E11C7CF}" type="datetimeFigureOut">
              <a:rPr lang="ru-RU" smtClean="0"/>
              <a:pPr/>
              <a:t>21.05.2018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AF40B8-8590-4782-80D3-C96AF2AE350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6778433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AF40B8-8590-4782-80D3-C96AF2AE3501}" type="slidenum">
              <a:rPr lang="ru-RU" smtClean="0"/>
              <a:pPr/>
              <a:t>3</a:t>
            </a:fld>
            <a:endParaRPr lang="ru-RU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AF40B8-8590-4782-80D3-C96AF2AE3501}" type="slidenum">
              <a:rPr lang="ru-RU" smtClean="0"/>
              <a:pPr/>
              <a:t>27</a:t>
            </a:fld>
            <a:endParaRPr lang="ru-RU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463A-BC7C-46EE-9F1E-7F377CCA4891}" type="datetimeFigureOut">
              <a:rPr lang="en-US" smtClean="0"/>
              <a:pPr/>
              <a:t>5/21/2018</a:t>
            </a:fld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463A-BC7C-46EE-9F1E-7F377CCA4891}" type="datetimeFigureOut">
              <a:rPr lang="en-US" smtClean="0"/>
              <a:pPr/>
              <a:t>5/21/2018</a:t>
            </a:fld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463A-BC7C-46EE-9F1E-7F377CCA4891}" type="datetimeFigureOut">
              <a:rPr lang="en-US" smtClean="0"/>
              <a:pPr/>
              <a:t>5/21/2018</a:t>
            </a:fld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463A-BC7C-46EE-9F1E-7F377CCA4891}" type="datetimeFigureOut">
              <a:rPr lang="en-US" smtClean="0"/>
              <a:pPr/>
              <a:t>5/21/2018</a:t>
            </a:fld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463A-BC7C-46EE-9F1E-7F377CCA4891}" type="datetimeFigureOut">
              <a:rPr lang="en-US" smtClean="0"/>
              <a:pPr/>
              <a:t>5/21/2018</a:t>
            </a:fld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463A-BC7C-46EE-9F1E-7F377CCA4891}" type="datetimeFigureOut">
              <a:rPr lang="en-US" smtClean="0"/>
              <a:pPr/>
              <a:t>5/21/2018</a:t>
            </a:fld>
            <a:endParaRPr lang="en-US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463A-BC7C-46EE-9F1E-7F377CCA4891}" type="datetimeFigureOut">
              <a:rPr lang="en-US" smtClean="0"/>
              <a:pPr/>
              <a:t>5/21/2018</a:t>
            </a:fld>
            <a:endParaRPr lang="en-US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463A-BC7C-46EE-9F1E-7F377CCA4891}" type="datetimeFigureOut">
              <a:rPr lang="en-US" smtClean="0"/>
              <a:pPr/>
              <a:t>5/21/2018</a:t>
            </a:fld>
            <a:endParaRPr lang="en-US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463A-BC7C-46EE-9F1E-7F377CCA4891}" type="datetimeFigureOut">
              <a:rPr lang="en-US" smtClean="0"/>
              <a:pPr/>
              <a:t>5/21/2018</a:t>
            </a:fld>
            <a:endParaRPr lang="en-US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463A-BC7C-46EE-9F1E-7F377CCA4891}" type="datetimeFigureOut">
              <a:rPr lang="en-US" smtClean="0"/>
              <a:pPr/>
              <a:t>5/21/2018</a:t>
            </a:fld>
            <a:endParaRPr lang="en-US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F463A-BC7C-46EE-9F1E-7F377CCA4891}" type="datetimeFigureOut">
              <a:rPr lang="en-US" smtClean="0"/>
              <a:pPr/>
              <a:t>5/21/2018</a:t>
            </a:fld>
            <a:endParaRPr lang="en-US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83448D-3A78-4528-A469-B745A65DA48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tx2">
                <a:lumMod val="20000"/>
                <a:lumOff val="80000"/>
              </a:schemeClr>
            </a:gs>
            <a:gs pos="53000">
              <a:srgbClr val="D4DEFF"/>
            </a:gs>
            <a:gs pos="83000">
              <a:srgbClr val="D4DEFF"/>
            </a:gs>
            <a:gs pos="100000">
              <a:srgbClr val="96AB94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AF463A-BC7C-46EE-9F1E-7F377CCA4891}" type="datetimeFigureOut">
              <a:rPr lang="en-US" smtClean="0"/>
              <a:pPr/>
              <a:t>5/21/2018</a:t>
            </a:fld>
            <a:endParaRPr lang="en-US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83448D-3A78-4528-A469-B745A65DA48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29" r:id="rId1"/>
    <p:sldLayoutId id="2147484130" r:id="rId2"/>
    <p:sldLayoutId id="2147484131" r:id="rId3"/>
    <p:sldLayoutId id="2147484132" r:id="rId4"/>
    <p:sldLayoutId id="2147484133" r:id="rId5"/>
    <p:sldLayoutId id="2147484134" r:id="rId6"/>
    <p:sldLayoutId id="2147484135" r:id="rId7"/>
    <p:sldLayoutId id="2147484136" r:id="rId8"/>
    <p:sldLayoutId id="2147484137" r:id="rId9"/>
    <p:sldLayoutId id="2147484138" r:id="rId10"/>
    <p:sldLayoutId id="214748413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2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5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jpe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chart" Target="../charts/chart1.xml"/><Relationship Id="rId7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png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0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4.jpeg"/><Relationship Id="rId5" Type="http://schemas.openxmlformats.org/officeDocument/2006/relationships/image" Target="../media/image33.jpeg"/><Relationship Id="rId4" Type="http://schemas.openxmlformats.org/officeDocument/2006/relationships/image" Target="../media/image32.gi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8.jpeg"/><Relationship Id="rId5" Type="http://schemas.openxmlformats.org/officeDocument/2006/relationships/image" Target="../media/image37.jpeg"/><Relationship Id="rId4" Type="http://schemas.openxmlformats.org/officeDocument/2006/relationships/image" Target="../media/image36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1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4.jpeg"/><Relationship Id="rId4" Type="http://schemas.openxmlformats.org/officeDocument/2006/relationships/image" Target="../media/image43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.jpe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8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1.jpe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5.jpeg"/><Relationship Id="rId4" Type="http://schemas.openxmlformats.org/officeDocument/2006/relationships/image" Target="../media/image54.jpe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7.jpe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hyperlink" Target="mailto:fin31@gfu.ru" TargetMode="Externa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.png"/><Relationship Id="rId4" Type="http://schemas.openxmlformats.org/officeDocument/2006/relationships/image" Target="../media/image1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57200" y="838200"/>
            <a:ext cx="8382000" cy="76200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600" dirty="0" smtClean="0"/>
              <a:t/>
            </a:r>
            <a:br>
              <a:rPr lang="ru-RU" sz="3600" dirty="0" smtClean="0"/>
            </a:br>
            <a:endParaRPr lang="ru-RU" sz="2000" b="0" dirty="0">
              <a:solidFill>
                <a:schemeClr val="bg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572000" y="2971800"/>
            <a:ext cx="4038600" cy="273921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3">
                <a:lumMod val="40000"/>
                <a:lumOff val="60000"/>
              </a:schemeClr>
            </a:solidFill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28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Бюджет муниципального образования «Тайшетский район»             2017 год:</a:t>
            </a:r>
          </a:p>
          <a:p>
            <a:pPr algn="ctr"/>
            <a:r>
              <a:rPr lang="ru-RU" sz="28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итоги исполнения </a:t>
            </a:r>
            <a:r>
              <a:rPr lang="ru-RU" sz="32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   </a:t>
            </a:r>
          </a:p>
        </p:txBody>
      </p:sp>
      <p:sp>
        <p:nvSpPr>
          <p:cNvPr id="6" name="TextBox 8"/>
          <p:cNvSpPr txBox="1">
            <a:spLocks noChangeArrowheads="1"/>
          </p:cNvSpPr>
          <p:nvPr/>
        </p:nvSpPr>
        <p:spPr bwMode="auto">
          <a:xfrm>
            <a:off x="1447800" y="152400"/>
            <a:ext cx="6172200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 smtClean="0">
                <a:solidFill>
                  <a:prstClr val="black"/>
                </a:solidFill>
                <a:latin typeface="Calibri" pitchFamily="34" charset="0"/>
              </a:rPr>
              <a:t> ФИНАНСОВОЕ УПРАВЛЕНИЕ АДМИНИСТРАЦИИ ТАЙШЕТСКОГО РАЙОНА</a:t>
            </a:r>
            <a:endParaRPr lang="en-US" sz="1100" dirty="0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7" name="TextBox 8"/>
          <p:cNvSpPr txBox="1">
            <a:spLocks noChangeArrowheads="1"/>
          </p:cNvSpPr>
          <p:nvPr/>
        </p:nvSpPr>
        <p:spPr bwMode="auto">
          <a:xfrm>
            <a:off x="3657600" y="6248400"/>
            <a:ext cx="51054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i="1" dirty="0" smtClean="0">
                <a:solidFill>
                  <a:prstClr val="black"/>
                </a:solidFill>
                <a:latin typeface="Bookman Old Style" pitchFamily="18" charset="0"/>
              </a:rPr>
              <a:t>Путеводитель</a:t>
            </a:r>
            <a:r>
              <a:rPr lang="ru-RU" dirty="0" smtClean="0">
                <a:solidFill>
                  <a:prstClr val="black"/>
                </a:solidFill>
                <a:latin typeface="Bookman Old Style" pitchFamily="18" charset="0"/>
              </a:rPr>
              <a:t> </a:t>
            </a:r>
            <a:r>
              <a:rPr lang="ru-RU" i="1" dirty="0" smtClean="0">
                <a:solidFill>
                  <a:prstClr val="black"/>
                </a:solidFill>
                <a:latin typeface="Bookman Old Style" pitchFamily="18" charset="0"/>
              </a:rPr>
              <a:t>по бюджету</a:t>
            </a:r>
            <a:endParaRPr lang="en-US" i="1" dirty="0" smtClean="0">
              <a:solidFill>
                <a:prstClr val="black"/>
              </a:solidFill>
              <a:latin typeface="Bookman Old Style" pitchFamily="18" charset="0"/>
            </a:endParaRPr>
          </a:p>
        </p:txBody>
      </p:sp>
      <p:pic>
        <p:nvPicPr>
          <p:cNvPr id="1026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1"/>
            <a:ext cx="914399" cy="1066799"/>
          </a:xfrm>
          <a:prstGeom prst="rect">
            <a:avLst/>
          </a:prstGeom>
          <a:noFill/>
        </p:spPr>
      </p:pic>
      <p:pic>
        <p:nvPicPr>
          <p:cNvPr id="2050" name="Picture 2" descr="C:\Users\finupr\Desktop\b7d5a70759587df9008c089334cd4a2b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24000" y="457200"/>
            <a:ext cx="6781800" cy="2209800"/>
          </a:xfrm>
          <a:prstGeom prst="rect">
            <a:avLst/>
          </a:prstGeom>
          <a:noFill/>
        </p:spPr>
      </p:pic>
      <p:pic>
        <p:nvPicPr>
          <p:cNvPr id="3" name="Picture 2" descr="C:\Users\finupr\Desktop\map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85800" y="2590800"/>
            <a:ext cx="3286125" cy="3581400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899592" y="1447800"/>
            <a:ext cx="7488832" cy="3785652"/>
          </a:xfrm>
          <a:prstGeom prst="rect">
            <a:avLst/>
          </a:prstGeom>
          <a:solidFill>
            <a:srgbClr val="DDFCFF"/>
          </a:solidFill>
        </p:spPr>
        <p:txBody>
          <a:bodyPr wrap="square">
            <a:spAutoFit/>
          </a:bodyPr>
          <a:lstStyle/>
          <a:p>
            <a:pPr algn="ctr"/>
            <a:r>
              <a:rPr lang="ru-RU" sz="4400" b="1" dirty="0">
                <a:solidFill>
                  <a:schemeClr val="accent2">
                    <a:lumMod val="75000"/>
                  </a:schemeClr>
                </a:solidFill>
                <a:latin typeface="Calibri" pitchFamily="34" charset="0"/>
                <a:cs typeface="Times New Roman" panose="02020603050405020304" pitchFamily="18" charset="0"/>
              </a:rPr>
              <a:t>Основные характеристики </a:t>
            </a:r>
            <a:r>
              <a:rPr lang="ru-RU" sz="4400" b="1" dirty="0" smtClean="0">
                <a:solidFill>
                  <a:schemeClr val="accent2">
                    <a:lumMod val="75000"/>
                  </a:schemeClr>
                </a:solidFill>
                <a:latin typeface="Calibri" pitchFamily="34" charset="0"/>
                <a:cs typeface="Times New Roman" panose="02020603050405020304" pitchFamily="18" charset="0"/>
              </a:rPr>
              <a:t>бюджета муниципального образования «Тайшетский район» </a:t>
            </a:r>
          </a:p>
          <a:p>
            <a:pPr algn="ctr"/>
            <a:r>
              <a:rPr lang="ru-RU" sz="3200" b="1" dirty="0" smtClean="0">
                <a:solidFill>
                  <a:schemeClr val="accent2">
                    <a:lumMod val="75000"/>
                  </a:schemeClr>
                </a:solidFill>
                <a:latin typeface="Calibri" pitchFamily="34" charset="0"/>
                <a:cs typeface="Times New Roman" panose="02020603050405020304" pitchFamily="18" charset="0"/>
              </a:rPr>
              <a:t>(</a:t>
            </a:r>
            <a:r>
              <a:rPr lang="ru-RU" sz="3200" b="1" i="1" dirty="0" smtClean="0">
                <a:solidFill>
                  <a:schemeClr val="accent2">
                    <a:lumMod val="75000"/>
                  </a:schemeClr>
                </a:solidFill>
                <a:latin typeface="Calibri" pitchFamily="34" charset="0"/>
                <a:cs typeface="Times New Roman" panose="02020603050405020304" pitchFamily="18" charset="0"/>
              </a:rPr>
              <a:t>итоги исполнения районного бюджета)</a:t>
            </a:r>
            <a:endParaRPr lang="ru-RU" sz="3200" b="1" i="1" dirty="0">
              <a:solidFill>
                <a:schemeClr val="accent2">
                  <a:lumMod val="75000"/>
                </a:schemeClr>
              </a:solidFill>
              <a:latin typeface="Calibri" pitchFamily="34" charset="0"/>
              <a:cs typeface="Times New Roman" panose="02020603050405020304" pitchFamily="18" charset="0"/>
            </a:endParaRPr>
          </a:p>
        </p:txBody>
      </p:sp>
      <p:pic>
        <p:nvPicPr>
          <p:cNvPr id="3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1"/>
            <a:ext cx="914399" cy="1066799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1"/>
            <a:ext cx="914399" cy="1066799"/>
          </a:xfrm>
          <a:prstGeom prst="rect">
            <a:avLst/>
          </a:prstGeom>
          <a:noFill/>
        </p:spPr>
      </p:pic>
      <p:sp>
        <p:nvSpPr>
          <p:cNvPr id="7" name="TextBox 8"/>
          <p:cNvSpPr txBox="1">
            <a:spLocks noChangeArrowheads="1"/>
          </p:cNvSpPr>
          <p:nvPr/>
        </p:nvSpPr>
        <p:spPr bwMode="auto">
          <a:xfrm>
            <a:off x="1447800" y="152400"/>
            <a:ext cx="6172200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 smtClean="0">
                <a:solidFill>
                  <a:prstClr val="black"/>
                </a:solidFill>
                <a:latin typeface="Calibri" pitchFamily="34" charset="0"/>
              </a:rPr>
              <a:t> ФИНАНСОВОЕ УПРАВЛЕНИЕ АДМИНИСТРАЦИИ ТАЙШЕТСКОГО РАЙОНА</a:t>
            </a:r>
            <a:endParaRPr lang="en-US" sz="1100" dirty="0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10" name="TextBox 9"/>
          <p:cNvSpPr txBox="1">
            <a:spLocks noChangeArrowheads="1"/>
          </p:cNvSpPr>
          <p:nvPr/>
        </p:nvSpPr>
        <p:spPr bwMode="auto">
          <a:xfrm>
            <a:off x="914400" y="1447800"/>
            <a:ext cx="7848600" cy="46166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400" dirty="0" smtClean="0">
              <a:solidFill>
                <a:prstClr val="black"/>
              </a:solidFill>
              <a:latin typeface="Calibri" pitchFamily="34" charset="0"/>
            </a:endParaRP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prstClr val="black"/>
                </a:solidFill>
                <a:latin typeface="Calibri" pitchFamily="34" charset="0"/>
              </a:rPr>
              <a:t>В условиях роста расходных обязательств районного бюджета над собственными доходными источниками и значительно степени зависимости от финансовой помощи из областного бюджета основными задачами бюджетной политики в 2017 году являлись: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ru-RU" sz="1400" dirty="0" smtClean="0">
                <a:solidFill>
                  <a:prstClr val="black"/>
                </a:solidFill>
                <a:latin typeface="Calibri" pitchFamily="34" charset="0"/>
              </a:rPr>
              <a:t> сохранение и развитие доходного потенциала бюджета;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prstClr val="black"/>
                </a:solidFill>
                <a:latin typeface="Calibri" pitchFamily="34" charset="0"/>
              </a:rPr>
              <a:t>-совершенствование бюджетного планирования и эффективного использования средств бюджета;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ru-RU" sz="1400" dirty="0" smtClean="0">
                <a:solidFill>
                  <a:prstClr val="black"/>
                </a:solidFill>
                <a:latin typeface="Calibri" pitchFamily="34" charset="0"/>
              </a:rPr>
              <a:t>повышение прозрачности и открытости бюджетного процесса.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endParaRPr lang="ru-RU" sz="1400" dirty="0" smtClean="0">
              <a:solidFill>
                <a:prstClr val="black"/>
              </a:solidFill>
              <a:latin typeface="Calibri" pitchFamily="34" charset="0"/>
            </a:endParaRP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prstClr val="black"/>
                </a:solidFill>
                <a:latin typeface="Calibri" pitchFamily="34" charset="0"/>
              </a:rPr>
              <a:t>Итогами мероприятий, проводимых в целях достижения поставленных задач, стали: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ru-RU" sz="1400" dirty="0" smtClean="0">
                <a:solidFill>
                  <a:prstClr val="black"/>
                </a:solidFill>
                <a:latin typeface="Calibri" pitchFamily="34" charset="0"/>
              </a:rPr>
              <a:t>рост налоговых и неналоговых поступлений в районный бюджет составил 58 130,2 тыс. рублей относительно 2016 года и 2 692,2 тыс. рублей к плановым показателям 2017 года (13,6 процентов и 0,6 процентов соответственно);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ru-RU" sz="1400" dirty="0" smtClean="0">
                <a:solidFill>
                  <a:prstClr val="black"/>
                </a:solidFill>
                <a:latin typeface="Calibri" pitchFamily="34" charset="0"/>
              </a:rPr>
              <a:t> исполнение районного бюджета 2017 года  с профицитом;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r>
              <a:rPr lang="ru-RU" sz="1400" dirty="0" smtClean="0">
                <a:solidFill>
                  <a:prstClr val="black"/>
                </a:solidFill>
                <a:latin typeface="Calibri" pitchFamily="34" charset="0"/>
              </a:rPr>
              <a:t> снижение отношения муниципального долга к объему полученных  налоговых и неналоговых доходов, по итогам 2017 года  оно составило  14,4% (в 2016 году – 1,1%).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endParaRPr lang="ru-RU" sz="1400" dirty="0" smtClean="0">
              <a:solidFill>
                <a:prstClr val="black"/>
              </a:solidFill>
              <a:latin typeface="Calibri" pitchFamily="34" charset="0"/>
            </a:endParaRP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prstClr val="black"/>
                </a:solidFill>
                <a:latin typeface="Calibri" pitchFamily="34" charset="0"/>
              </a:rPr>
              <a:t>Районный бюджет  по итогам 2017 года исполнен по доходам в сумме 1 821 819,4 тыс. рублей, по расходам в сумме 1 738 289,6 тыс. рублей , с превышением доходов над расходами (профицит бюджета) в сумме 83 529,8 тыс. рублей.</a:t>
            </a:r>
          </a:p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prstClr val="black"/>
                </a:solidFill>
                <a:latin typeface="Calibri" pitchFamily="34" charset="0"/>
              </a:rPr>
              <a:t>Муниципальный долг  по состоянию на 1 января 2018 года составил 11 122,0 тыс. рублей.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buFontTx/>
              <a:buChar char="-"/>
            </a:pPr>
            <a:endParaRPr lang="en-US" sz="1400" dirty="0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066800" y="762000"/>
            <a:ext cx="7696200" cy="685800"/>
          </a:xfrm>
          <a:solidFill>
            <a:srgbClr val="ECF1E1"/>
          </a:solidFill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 anchorCtr="1">
            <a:normAutofit/>
          </a:bodyPr>
          <a:lstStyle/>
          <a:p>
            <a:pPr algn="ctr" fontAlgn="base">
              <a:spcAft>
                <a:spcPct val="0"/>
              </a:spcAft>
            </a:pPr>
            <a:r>
              <a:rPr lang="ru-RU" sz="1600" b="0" i="1" dirty="0">
                <a:solidFill>
                  <a:prstClr val="black"/>
                </a:solidFill>
                <a:latin typeface="Calibri" pitchFamily="34" charset="0"/>
              </a:rPr>
              <a:t>Результаты бюджетной политики муниципального образования «Тайшетский район», достигнутые в 2017 году</a:t>
            </a: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90600" y="381000"/>
            <a:ext cx="7772400" cy="533400"/>
          </a:xfrm>
          <a:solidFill>
            <a:schemeClr val="bg1"/>
          </a:solidFill>
          <a:ln>
            <a:solidFill>
              <a:srgbClr val="7030A0"/>
            </a:solidFill>
          </a:ln>
        </p:spPr>
        <p:txBody>
          <a:bodyPr tIns="0" anchor="ctr" anchorCtr="1">
            <a:normAutofit fontScale="90000"/>
          </a:bodyPr>
          <a:lstStyle/>
          <a:p>
            <a:pPr algn="ctr"/>
            <a:r>
              <a:rPr lang="ru-RU" sz="1800" dirty="0" smtClean="0">
                <a:effectLst/>
              </a:rPr>
              <a:t>Бюджет муниципального образования «Тайшетский район»                                                                             итоги  исполнения  районного  бюджета  за 2017 год</a:t>
            </a:r>
            <a:r>
              <a:rPr lang="ru-RU" sz="1800" dirty="0" smtClean="0">
                <a:solidFill>
                  <a:schemeClr val="accent4">
                    <a:lumMod val="50000"/>
                  </a:schemeClr>
                </a:solidFill>
                <a:effectLst/>
              </a:rPr>
              <a:t>  </a:t>
            </a:r>
            <a:r>
              <a:rPr lang="ru-RU" sz="1600" dirty="0" smtClean="0">
                <a:solidFill>
                  <a:schemeClr val="accent4">
                    <a:lumMod val="50000"/>
                  </a:schemeClr>
                </a:solidFill>
                <a:effectLst/>
              </a:rPr>
              <a:t>                  </a:t>
            </a:r>
            <a:r>
              <a:rPr lang="ru-RU" sz="2400" dirty="0" smtClean="0">
                <a:solidFill>
                  <a:schemeClr val="accent4">
                    <a:lumMod val="50000"/>
                  </a:schemeClr>
                </a:solidFill>
                <a:effectLst/>
              </a:rPr>
              <a:t>                                                                                                          </a:t>
            </a:r>
            <a:endParaRPr lang="ru-RU" sz="2400" dirty="0">
              <a:solidFill>
                <a:schemeClr val="accent4">
                  <a:lumMod val="50000"/>
                </a:schemeClr>
              </a:solidFill>
              <a:effectLst/>
            </a:endParaRPr>
          </a:p>
        </p:txBody>
      </p:sp>
      <p:graphicFrame>
        <p:nvGraphicFramePr>
          <p:cNvPr id="5" name="Содержимое 4"/>
          <p:cNvGraphicFramePr>
            <a:graphicFrameLocks noGrp="1"/>
          </p:cNvGraphicFramePr>
          <p:nvPr>
            <p:ph idx="1"/>
          </p:nvPr>
        </p:nvGraphicFramePr>
        <p:xfrm>
          <a:off x="457200" y="2209801"/>
          <a:ext cx="8305800" cy="3200400"/>
        </p:xfrm>
        <a:graphic>
          <a:graphicData uri="http://schemas.openxmlformats.org/drawingml/2006/table">
            <a:tbl>
              <a:tblPr firstRow="1" bandRow="1">
                <a:tableStyleId>{8A107856-5554-42FB-B03E-39F5DBC370BA}</a:tableStyleId>
              </a:tblPr>
              <a:tblGrid>
                <a:gridCol w="2286000"/>
                <a:gridCol w="1219200"/>
                <a:gridCol w="1295400"/>
                <a:gridCol w="1219200"/>
                <a:gridCol w="1143000"/>
                <a:gridCol w="1143000"/>
              </a:tblGrid>
              <a:tr h="679268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Показатели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2016 год факт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2017 год план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2017 год факт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Исполнение 2017 года (%)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Динамика 2017/2016 (%)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39634">
                <a:tc>
                  <a:txBody>
                    <a:bodyPr/>
                    <a:lstStyle/>
                    <a:p>
                      <a:r>
                        <a:rPr lang="ru-RU" dirty="0" smtClean="0"/>
                        <a:t>ДОХОДЫ</a:t>
                      </a:r>
                      <a:endParaRPr lang="ru-RU" b="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589 090,6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878 899,0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821 819,4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97,0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14,6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537754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Налоговые</a:t>
                      </a:r>
                      <a:r>
                        <a:rPr lang="ru-RU" sz="1600" baseline="0" dirty="0" smtClean="0"/>
                        <a:t> и неналоговые доходы</a:t>
                      </a:r>
                      <a:endParaRPr lang="ru-RU" sz="16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427 183,5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482 621,5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485 313,7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00,6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13,6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537754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Безвозмездные поступления</a:t>
                      </a:r>
                      <a:endParaRPr lang="ru-RU" sz="16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 161 907,1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 396 277,4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 336 505,7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95,7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15,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39634">
                <a:tc>
                  <a:txBody>
                    <a:bodyPr/>
                    <a:lstStyle/>
                    <a:p>
                      <a:r>
                        <a:rPr lang="ru-RU" dirty="0" smtClean="0"/>
                        <a:t>РАСХОДЫ</a:t>
                      </a:r>
                      <a:endParaRPr lang="ru-RU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583 447,2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836 483,9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738 289,6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94,7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09,8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537754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ДЕФИЦИТ(-) /ПРОФИЦИТ(+)</a:t>
                      </a:r>
                      <a:endParaRPr lang="ru-RU" sz="16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5 643,4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42 415,1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83 529,8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96,9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480,1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6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1"/>
            <a:ext cx="914399" cy="1066799"/>
          </a:xfrm>
          <a:prstGeom prst="rect">
            <a:avLst/>
          </a:prstGeom>
          <a:noFill/>
        </p:spPr>
      </p:pic>
      <p:sp>
        <p:nvSpPr>
          <p:cNvPr id="7" name="Заголовок 1"/>
          <p:cNvSpPr txBox="1">
            <a:spLocks/>
          </p:cNvSpPr>
          <p:nvPr/>
        </p:nvSpPr>
        <p:spPr>
          <a:xfrm>
            <a:off x="7391400" y="1752600"/>
            <a:ext cx="1447800" cy="381000"/>
          </a:xfrm>
          <a:prstGeom prst="rect">
            <a:avLst/>
          </a:prstGeom>
        </p:spPr>
        <p:txBody>
          <a:bodyPr vert="horz" lIns="0" tIns="0" rIns="0" bIns="0" anchor="ctr" anchorCtr="1">
            <a:normAutofit fontScale="82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                                                                                                                 </a:t>
            </a:r>
            <a:r>
              <a:rPr lang="ru-RU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тыс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. рублей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8" name="Заголовок 1"/>
          <p:cNvSpPr txBox="1">
            <a:spLocks/>
          </p:cNvSpPr>
          <p:nvPr/>
        </p:nvSpPr>
        <p:spPr>
          <a:xfrm>
            <a:off x="914400" y="1295400"/>
            <a:ext cx="7696200" cy="381000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txBody>
          <a:bodyPr vert="horz" tIns="0" anchor="ctr" anchorCtr="1">
            <a:normAutofit fontScale="97500" lnSpcReduction="1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1" u="none" strike="noStrike" kern="1200" cap="all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Основные параметры исполнения районного бюджета за 2016 - 2017 годы </a:t>
            </a:r>
            <a:r>
              <a:rPr kumimoji="0" lang="ru-RU" sz="1600" b="0" i="0" u="none" strike="noStrike" kern="1200" cap="all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ru-RU" sz="16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ru-RU" sz="16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>                 </a:t>
            </a:r>
            <a:r>
              <a:rPr kumimoji="0" lang="ru-RU" sz="24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>
                  <a:reflection blurRad="12700" stA="48000" endA="300" endPos="55000" dir="5400000" sy="-90000" algn="bl" rotWithShape="0"/>
                </a:effectLst>
                <a:uLnTx/>
                <a:uFillTx/>
                <a:latin typeface="+mj-lt"/>
                <a:ea typeface="+mj-ea"/>
                <a:cs typeface="+mj-cs"/>
              </a:rPr>
              <a:t>                                                                                                          </a:t>
            </a:r>
            <a:endParaRPr kumimoji="0" lang="ru-RU" sz="2400" b="0" i="0" u="none" strike="noStrike" kern="1200" cap="all" spc="0" normalizeH="0" baseline="0" noProof="0" dirty="0">
              <a:ln>
                <a:noFill/>
              </a:ln>
              <a:solidFill>
                <a:schemeClr val="accent4">
                  <a:lumMod val="50000"/>
                </a:schemeClr>
              </a:solidFill>
              <a:effectLst>
                <a:reflection blurRad="12700" stA="48000" endA="300" endPos="55000" dir="5400000" sy="-90000" algn="bl" rotWithShape="0"/>
              </a:effectLst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Содержимое 5"/>
          <p:cNvGraphicFramePr>
            <a:graphicFrameLocks noGrp="1"/>
          </p:cNvGraphicFramePr>
          <p:nvPr>
            <p:ph idx="1"/>
          </p:nvPr>
        </p:nvGraphicFramePr>
        <p:xfrm>
          <a:off x="4495800" y="1828800"/>
          <a:ext cx="4495800" cy="472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4" name="Picture 2" descr="C:\Users\finupr\Desktop\gerb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" y="1"/>
            <a:ext cx="914399" cy="1066799"/>
          </a:xfrm>
          <a:prstGeom prst="rect">
            <a:avLst/>
          </a:prstGeom>
          <a:noFill/>
        </p:spPr>
      </p:pic>
      <p:sp>
        <p:nvSpPr>
          <p:cNvPr id="5" name="Заголовок 1"/>
          <p:cNvSpPr txBox="1">
            <a:spLocks/>
          </p:cNvSpPr>
          <p:nvPr/>
        </p:nvSpPr>
        <p:spPr>
          <a:xfrm>
            <a:off x="990600" y="152400"/>
            <a:ext cx="7772400" cy="4572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lIns="0" tIns="0" rIns="0" bIns="0" anchor="ctr" anchorCtr="1">
            <a:normAutofit fontScale="975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Доходы бюджета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chemeClr val="accent4">
                  <a:lumMod val="50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cxnSp>
        <p:nvCxnSpPr>
          <p:cNvPr id="20" name="Прямая со стрелкой 19"/>
          <p:cNvCxnSpPr/>
          <p:nvPr/>
        </p:nvCxnSpPr>
        <p:spPr>
          <a:xfrm flipV="1">
            <a:off x="6629400" y="4572000"/>
            <a:ext cx="838200" cy="152400"/>
          </a:xfrm>
          <a:prstGeom prst="straightConnector1">
            <a:avLst/>
          </a:prstGeom>
          <a:ln>
            <a:solidFill>
              <a:srgbClr val="00B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Заголовок 1"/>
          <p:cNvSpPr txBox="1">
            <a:spLocks/>
          </p:cNvSpPr>
          <p:nvPr/>
        </p:nvSpPr>
        <p:spPr>
          <a:xfrm>
            <a:off x="4495800" y="1143000"/>
            <a:ext cx="4495800" cy="609600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lIns="0" tIns="0" rIns="0" bIns="0" anchor="ctr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Исполнение доходной части бюджета</a:t>
            </a:r>
            <a:endParaRPr kumimoji="0" lang="ru-RU" sz="1600" b="0" i="1" u="none" strike="noStrike" kern="1200" cap="none" spc="0" normalizeH="0" noProof="0" dirty="0" smtClean="0">
              <a:ln>
                <a:noFill/>
              </a:ln>
              <a:solidFill>
                <a:schemeClr val="accent4">
                  <a:lumMod val="50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1" u="none" strike="noStrike" kern="1200" cap="none" spc="0" normalizeH="0" noProof="0" dirty="0" smtClean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за 2016 – 2017 годы</a:t>
            </a:r>
            <a:endParaRPr kumimoji="0" lang="ru-RU" sz="1600" b="0" i="1" u="none" strike="noStrike" kern="1200" cap="none" spc="0" normalizeH="0" baseline="0" noProof="0" dirty="0">
              <a:ln>
                <a:noFill/>
              </a:ln>
              <a:solidFill>
                <a:schemeClr val="accent4">
                  <a:lumMod val="50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26" name="Заголовок 1"/>
          <p:cNvSpPr txBox="1">
            <a:spLocks/>
          </p:cNvSpPr>
          <p:nvPr/>
        </p:nvSpPr>
        <p:spPr>
          <a:xfrm>
            <a:off x="152400" y="1143000"/>
            <a:ext cx="4191000" cy="609600"/>
          </a:xfrm>
          <a:prstGeom prst="rect">
            <a:avLst/>
          </a:prstGeom>
          <a:solidFill>
            <a:schemeClr val="bg1"/>
          </a:solidFill>
          <a:ln>
            <a:solidFill>
              <a:srgbClr val="CB0BC2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lIns="0" tIns="0" rIns="0" bIns="0" anchor="ctr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Исполнение доходной части бюджета</a:t>
            </a:r>
            <a:endParaRPr kumimoji="0" lang="ru-RU" sz="1600" b="0" i="1" u="none" strike="noStrike" kern="1200" cap="none" spc="0" normalizeH="0" noProof="0" dirty="0" smtClean="0">
              <a:ln>
                <a:noFill/>
              </a:ln>
              <a:solidFill>
                <a:schemeClr val="accent4">
                  <a:lumMod val="50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1" u="none" strike="noStrike" kern="1200" cap="none" spc="0" normalizeH="0" noProof="0" dirty="0" smtClean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за 2017 год</a:t>
            </a:r>
            <a:endParaRPr kumimoji="0" lang="ru-RU" sz="1600" b="0" i="1" u="none" strike="noStrike" kern="1200" cap="none" spc="0" normalizeH="0" baseline="0" noProof="0" dirty="0">
              <a:ln>
                <a:noFill/>
              </a:ln>
              <a:solidFill>
                <a:schemeClr val="accent4">
                  <a:lumMod val="50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34" name="Содержимое 5"/>
          <p:cNvGraphicFramePr>
            <a:graphicFrameLocks/>
          </p:cNvGraphicFramePr>
          <p:nvPr/>
        </p:nvGraphicFramePr>
        <p:xfrm>
          <a:off x="152400" y="1828800"/>
          <a:ext cx="4191000" cy="472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10" name="Прямая со стрелкой 9"/>
          <p:cNvCxnSpPr/>
          <p:nvPr/>
        </p:nvCxnSpPr>
        <p:spPr>
          <a:xfrm flipV="1">
            <a:off x="6629400" y="3352800"/>
            <a:ext cx="838200" cy="152400"/>
          </a:xfrm>
          <a:prstGeom prst="straightConnector1">
            <a:avLst/>
          </a:prstGeom>
          <a:ln>
            <a:solidFill>
              <a:srgbClr val="00B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4"/>
          <p:cNvSpPr>
            <a:spLocks noGrp="1"/>
          </p:cNvSpPr>
          <p:nvPr>
            <p:ph type="title"/>
          </p:nvPr>
        </p:nvSpPr>
        <p:spPr>
          <a:xfrm>
            <a:off x="990600" y="762000"/>
            <a:ext cx="7848600" cy="533400"/>
          </a:xfr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anchor="t" anchorCtr="0">
            <a:noAutofit/>
          </a:bodyPr>
          <a:lstStyle/>
          <a:p>
            <a:pPr algn="ctr"/>
            <a:r>
              <a:rPr lang="ru-RU" sz="1600" i="1" dirty="0" smtClean="0">
                <a:effectLst/>
              </a:rPr>
              <a:t>Структура исполнения бюджета по основным источникам налоговых и  неналоговых доходов за 2017 год</a:t>
            </a:r>
            <a:endParaRPr lang="ru-RU" sz="1600" i="1" dirty="0">
              <a:effectLst/>
            </a:endParaRPr>
          </a:p>
        </p:txBody>
      </p:sp>
      <p:graphicFrame>
        <p:nvGraphicFramePr>
          <p:cNvPr id="8" name="Содержимое 7"/>
          <p:cNvGraphicFramePr>
            <a:graphicFrameLocks noGrp="1"/>
          </p:cNvGraphicFramePr>
          <p:nvPr>
            <p:ph idx="1"/>
          </p:nvPr>
        </p:nvGraphicFramePr>
        <p:xfrm>
          <a:off x="457200" y="1600200"/>
          <a:ext cx="8229600" cy="4876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8000"/>
                <a:gridCol w="1143000"/>
                <a:gridCol w="990600"/>
                <a:gridCol w="990600"/>
                <a:gridCol w="990600"/>
                <a:gridCol w="1066800"/>
              </a:tblGrid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7  год (план)</a:t>
                      </a:r>
                      <a:endParaRPr lang="ru-RU" sz="1200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7 год (факт)</a:t>
                      </a:r>
                      <a:endParaRPr lang="ru-RU" sz="1200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Исполнение (%)</a:t>
                      </a:r>
                      <a:endParaRPr lang="ru-RU" sz="1200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Отклонение , +/- (тыс. рублей)</a:t>
                      </a:r>
                      <a:endParaRPr lang="ru-RU" sz="1200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Удельный вес в сумме доходов (%)</a:t>
                      </a:r>
                      <a:endParaRPr lang="ru-RU" sz="1200" dirty="0"/>
                    </a:p>
                  </a:txBody>
                  <a:tcPr marL="86628" marR="86628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b="1" dirty="0" smtClean="0"/>
                        <a:t>Налоговые и неналоговые доходы, из них</a:t>
                      </a:r>
                      <a:endParaRPr lang="ru-RU" sz="1200" b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/>
                        <a:t>482 621,5</a:t>
                      </a:r>
                      <a:endParaRPr lang="ru-RU" sz="1200" b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/>
                        <a:t>485 313,7</a:t>
                      </a:r>
                      <a:endParaRPr lang="ru-RU" sz="1200" b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/>
                        <a:t>100,6</a:t>
                      </a:r>
                      <a:endParaRPr lang="ru-RU" sz="1200" b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/>
                        <a:t>2 692,2</a:t>
                      </a:r>
                      <a:endParaRPr lang="ru-RU" sz="1200" b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/>
                        <a:t>100,0</a:t>
                      </a:r>
                      <a:endParaRPr lang="ru-RU" sz="1200" b="1" dirty="0"/>
                    </a:p>
                  </a:txBody>
                  <a:tcPr marL="86628" marR="86628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i="1" dirty="0" smtClean="0"/>
                        <a:t>Налог на доходы физических лиц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344 667,5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342 142,0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99,3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-2 525,5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70,5</a:t>
                      </a:r>
                      <a:endParaRPr lang="ru-RU" sz="1200" i="1" dirty="0"/>
                    </a:p>
                  </a:txBody>
                  <a:tcPr marL="86628" marR="86628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i="1" dirty="0" smtClean="0"/>
                        <a:t>Налоги на совокупный доход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59 698,9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60 278,6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101,0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579,7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12,4</a:t>
                      </a:r>
                      <a:endParaRPr lang="ru-RU" sz="1200" i="1" dirty="0"/>
                    </a:p>
                  </a:txBody>
                  <a:tcPr marL="86628" marR="86628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i="1" dirty="0" smtClean="0"/>
                        <a:t>Государственная пошлина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8 716,3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9 541,8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109,5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825,5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2,0</a:t>
                      </a:r>
                      <a:endParaRPr lang="ru-RU" sz="1200" i="1" dirty="0"/>
                    </a:p>
                  </a:txBody>
                  <a:tcPr marL="86628" marR="86628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i="1" dirty="0" smtClean="0"/>
                        <a:t>Доходы от использования имущества, находящегося в муниципальной собственности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11 721,7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14 037,8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119,8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2 316,1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2,9</a:t>
                      </a:r>
                      <a:endParaRPr lang="ru-RU" sz="1200" i="1" dirty="0"/>
                    </a:p>
                  </a:txBody>
                  <a:tcPr marL="86628" marR="86628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i="1" dirty="0" smtClean="0"/>
                        <a:t>Плата</a:t>
                      </a:r>
                      <a:r>
                        <a:rPr lang="ru-RU" sz="1200" i="1" baseline="0" dirty="0" smtClean="0"/>
                        <a:t> за негативное воздействие на окружающую среду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1 473,0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1 300,5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88,3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-172,5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0,3</a:t>
                      </a:r>
                      <a:endParaRPr lang="ru-RU" sz="1200" i="1" dirty="0"/>
                    </a:p>
                  </a:txBody>
                  <a:tcPr marL="86628" marR="86628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i="1" dirty="0" smtClean="0"/>
                        <a:t>Доходы от оказания платных услуг и компенсации затрат государства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47 188,9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48 231,6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102,2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1 042,7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9,9</a:t>
                      </a:r>
                      <a:endParaRPr lang="ru-RU" sz="1200" i="1" dirty="0"/>
                    </a:p>
                  </a:txBody>
                  <a:tcPr marL="86628" marR="86628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i="1" dirty="0" smtClean="0"/>
                        <a:t>Доходы от продажи материальных и нематериальных активов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4 479,8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4 732,9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105,7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253,1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1,0</a:t>
                      </a:r>
                      <a:endParaRPr lang="ru-RU" sz="1200" i="1" dirty="0"/>
                    </a:p>
                  </a:txBody>
                  <a:tcPr marL="86628" marR="86628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i="1" dirty="0" smtClean="0"/>
                        <a:t>Штрафы,</a:t>
                      </a:r>
                      <a:r>
                        <a:rPr lang="ru-RU" sz="1200" i="1" baseline="0" dirty="0" smtClean="0"/>
                        <a:t> санкции, возмещение ущерба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4 625,4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4 992,6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107,9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367,2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1,0</a:t>
                      </a:r>
                      <a:endParaRPr lang="ru-RU" sz="1200" i="1" dirty="0"/>
                    </a:p>
                  </a:txBody>
                  <a:tcPr marL="86628" marR="86628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i="1" dirty="0" smtClean="0"/>
                        <a:t>Прочие неналоговые</a:t>
                      </a:r>
                      <a:r>
                        <a:rPr lang="ru-RU" sz="1200" i="1" baseline="0" dirty="0" smtClean="0"/>
                        <a:t> доходы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50,0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55,9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111,7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5,9</a:t>
                      </a:r>
                      <a:endParaRPr lang="ru-RU" sz="1200" i="1" dirty="0"/>
                    </a:p>
                  </a:txBody>
                  <a:tcPr marL="86628" marR="86628"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0,0</a:t>
                      </a:r>
                      <a:endParaRPr lang="ru-RU" sz="1200" i="1" dirty="0"/>
                    </a:p>
                  </a:txBody>
                  <a:tcPr marL="86628" marR="86628"/>
                </a:tc>
              </a:tr>
            </a:tbl>
          </a:graphicData>
        </a:graphic>
      </p:graphicFrame>
      <p:pic>
        <p:nvPicPr>
          <p:cNvPr id="4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1"/>
            <a:ext cx="914399" cy="1066799"/>
          </a:xfrm>
          <a:prstGeom prst="rect">
            <a:avLst/>
          </a:prstGeom>
          <a:noFill/>
        </p:spPr>
      </p:pic>
      <p:sp>
        <p:nvSpPr>
          <p:cNvPr id="6" name="Заголовок 4"/>
          <p:cNvSpPr txBox="1">
            <a:spLocks/>
          </p:cNvSpPr>
          <p:nvPr/>
        </p:nvSpPr>
        <p:spPr>
          <a:xfrm>
            <a:off x="1066800" y="152400"/>
            <a:ext cx="7772400" cy="381000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vert="horz" lIns="0" rIns="0" bIns="0" anchor="b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ru-RU" sz="2000" dirty="0" smtClean="0">
                <a:solidFill>
                  <a:schemeClr val="accent4">
                    <a:lumMod val="50000"/>
                  </a:schemeClr>
                </a:solidFill>
              </a:rPr>
              <a:t>Доходы бюджета</a:t>
            </a:r>
            <a:endParaRPr lang="ru-RU" sz="2000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7391400" y="1219200"/>
            <a:ext cx="1447800" cy="304800"/>
          </a:xfrm>
          <a:prstGeom prst="rect">
            <a:avLst/>
          </a:prstGeom>
        </p:spPr>
        <p:txBody>
          <a:bodyPr vert="horz" lIns="0" tIns="0" rIns="0" bIns="0" anchor="ctr" anchorCtr="1">
            <a:normAutofit fontScale="67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                                                                                                                 </a:t>
            </a:r>
            <a:r>
              <a:rPr lang="ru-RU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тыс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. рублей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1"/>
            <a:ext cx="914399" cy="1066799"/>
          </a:xfrm>
          <a:prstGeom prst="rect">
            <a:avLst/>
          </a:prstGeom>
          <a:noFill/>
        </p:spPr>
      </p:pic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990600" y="762000"/>
            <a:ext cx="7848600" cy="381000"/>
          </a:xfrm>
          <a:solidFill>
            <a:schemeClr val="bg1"/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anchor="t" anchorCtr="0">
            <a:normAutofit/>
          </a:bodyPr>
          <a:lstStyle/>
          <a:p>
            <a:pPr algn="ctr"/>
            <a:r>
              <a:rPr lang="ru-RU" sz="1600" i="1" dirty="0" smtClean="0">
                <a:effectLst/>
              </a:rPr>
              <a:t>Поступление налоговых и неналоговых доходов   в 2016 – 2017 годах</a:t>
            </a:r>
            <a:endParaRPr lang="ru-RU" sz="1600" i="1" dirty="0">
              <a:effectLst/>
            </a:endParaRPr>
          </a:p>
        </p:txBody>
      </p:sp>
      <p:graphicFrame>
        <p:nvGraphicFramePr>
          <p:cNvPr id="7" name="Содержимое 6"/>
          <p:cNvGraphicFramePr>
            <a:graphicFrameLocks noGrp="1"/>
          </p:cNvGraphicFramePr>
          <p:nvPr>
            <p:ph idx="1"/>
          </p:nvPr>
        </p:nvGraphicFramePr>
        <p:xfrm>
          <a:off x="304800" y="1219200"/>
          <a:ext cx="8610600" cy="487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Заголовок 4"/>
          <p:cNvSpPr txBox="1">
            <a:spLocks/>
          </p:cNvSpPr>
          <p:nvPr/>
        </p:nvSpPr>
        <p:spPr>
          <a:xfrm>
            <a:off x="1066800" y="152400"/>
            <a:ext cx="7772400" cy="381000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vert="horz" lIns="0" rIns="0" bIns="0" anchor="b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ru-RU" sz="2000" dirty="0" smtClean="0">
                <a:solidFill>
                  <a:schemeClr val="accent4">
                    <a:lumMod val="50000"/>
                  </a:schemeClr>
                </a:solidFill>
              </a:rPr>
              <a:t>Доходы бюджета</a:t>
            </a:r>
            <a:endParaRPr lang="ru-RU" sz="2000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8" name="Заголовок 1"/>
          <p:cNvSpPr txBox="1">
            <a:spLocks/>
          </p:cNvSpPr>
          <p:nvPr/>
        </p:nvSpPr>
        <p:spPr>
          <a:xfrm>
            <a:off x="7391400" y="1295400"/>
            <a:ext cx="1447800" cy="304800"/>
          </a:xfrm>
          <a:prstGeom prst="rect">
            <a:avLst/>
          </a:prstGeom>
        </p:spPr>
        <p:txBody>
          <a:bodyPr vert="horz" lIns="0" tIns="0" rIns="0" bIns="0" anchor="ctr" anchorCtr="1">
            <a:normAutofit fontScale="67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                                                                                                                 </a:t>
            </a:r>
            <a:r>
              <a:rPr lang="ru-RU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тыс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. рублей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304800" y="6248400"/>
            <a:ext cx="8534399" cy="4572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0" tIns="0" rIns="0" bIns="0" anchor="ctr" anchorCtr="1">
            <a:normAutofit fontScale="67500" lnSpcReduction="20000"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+mj-ea"/>
                <a:cs typeface="+mj-cs"/>
              </a:rPr>
              <a:t> </a:t>
            </a:r>
            <a:r>
              <a:rPr kumimoji="0" lang="ru-RU" sz="170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ea typeface="+mj-ea"/>
                <a:cs typeface="+mj-cs"/>
              </a:rPr>
              <a:t>В структуре налоговых и неналоговых доходов за 2017 год наибольший удельный вес приходится на: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700" dirty="0" smtClean="0">
                <a:solidFill>
                  <a:schemeClr val="bg2">
                    <a:lumMod val="25000"/>
                  </a:schemeClr>
                </a:solidFill>
                <a:ea typeface="+mj-ea"/>
                <a:cs typeface="+mj-cs"/>
              </a:rPr>
              <a:t>налог на доходы физических лиц  - 70,5% ( в 2016 году – 72,2%); налоги на совокупный доход – 12,4% (в 2016 году – 9,9%; доходы</a:t>
            </a:r>
            <a:r>
              <a:rPr kumimoji="0" lang="ru-RU" sz="170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ea typeface="+mj-ea"/>
                <a:cs typeface="+mj-cs"/>
              </a:rPr>
              <a:t>  от оказания  платных услуг и компенсации затрат государства – 9,9% (в 2016 году – 10,4%).</a:t>
            </a:r>
            <a:endParaRPr kumimoji="0" lang="ru-RU" sz="1700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1"/>
            <a:ext cx="914399" cy="1066799"/>
          </a:xfrm>
          <a:prstGeom prst="rect">
            <a:avLst/>
          </a:prstGeom>
          <a:noFill/>
        </p:spPr>
      </p:pic>
      <p:sp>
        <p:nvSpPr>
          <p:cNvPr id="4" name="Заголовок 4"/>
          <p:cNvSpPr txBox="1">
            <a:spLocks/>
          </p:cNvSpPr>
          <p:nvPr/>
        </p:nvSpPr>
        <p:spPr>
          <a:xfrm>
            <a:off x="1066800" y="152400"/>
            <a:ext cx="7772400" cy="381000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vert="horz" lIns="0" rIns="0" bIns="0" anchor="b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ru-RU" sz="2000" dirty="0" smtClean="0">
                <a:solidFill>
                  <a:schemeClr val="accent4">
                    <a:lumMod val="50000"/>
                  </a:schemeClr>
                </a:solidFill>
              </a:rPr>
              <a:t>Доходы бюджета</a:t>
            </a:r>
            <a:endParaRPr lang="ru-RU" sz="2000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990600" y="762000"/>
            <a:ext cx="7848600" cy="457200"/>
          </a:xfr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</p:spPr>
        <p:txBody>
          <a:bodyPr anchor="t" anchorCtr="0">
            <a:normAutofit/>
          </a:bodyPr>
          <a:lstStyle/>
          <a:p>
            <a:pPr algn="ctr"/>
            <a:r>
              <a:rPr lang="ru-RU" sz="1600" i="1" dirty="0" smtClean="0">
                <a:effectLst/>
              </a:rPr>
              <a:t>Структура исполнения бюджета по безвозмездным поступлениям   за 2017 год</a:t>
            </a:r>
            <a:endParaRPr lang="ru-RU" sz="1600" i="1" dirty="0">
              <a:effectLst/>
            </a:endParaRPr>
          </a:p>
        </p:txBody>
      </p:sp>
      <p:graphicFrame>
        <p:nvGraphicFramePr>
          <p:cNvPr id="6" name="Содержимое 7"/>
          <p:cNvGraphicFramePr>
            <a:graphicFrameLocks/>
          </p:cNvGraphicFramePr>
          <p:nvPr/>
        </p:nvGraphicFramePr>
        <p:xfrm>
          <a:off x="304800" y="1554163"/>
          <a:ext cx="8686800" cy="42675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200"/>
                <a:gridCol w="1447800"/>
                <a:gridCol w="1219200"/>
                <a:gridCol w="1066800"/>
                <a:gridCol w="1219200"/>
                <a:gridCol w="990600"/>
              </a:tblGrid>
              <a:tr h="765784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7  год (план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7 год (факт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Исполнение (%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Отклонение , +/- (тыс. рублей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Удельный вес в сумме доходов (%)</a:t>
                      </a:r>
                      <a:endParaRPr lang="ru-RU" sz="1200" dirty="0"/>
                    </a:p>
                  </a:txBody>
                  <a:tcPr/>
                </a:tc>
              </a:tr>
              <a:tr h="425436">
                <a:tc>
                  <a:txBody>
                    <a:bodyPr/>
                    <a:lstStyle/>
                    <a:p>
                      <a:r>
                        <a:rPr lang="ru-RU" sz="1200" b="1" dirty="0" smtClean="0"/>
                        <a:t>Безвозмездные поступления всего, в том числе:</a:t>
                      </a:r>
                      <a:endParaRPr lang="ru-RU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/>
                        <a:t>1 396 277,4</a:t>
                      </a:r>
                      <a:endParaRPr lang="ru-RU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/>
                        <a:t>1 336 505,7</a:t>
                      </a:r>
                      <a:endParaRPr lang="ru-RU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/>
                        <a:t>95,7</a:t>
                      </a:r>
                      <a:endParaRPr lang="ru-RU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/>
                        <a:t>- 59 771,7</a:t>
                      </a:r>
                      <a:endParaRPr lang="ru-RU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b="1" dirty="0" smtClean="0"/>
                        <a:t>100,0</a:t>
                      </a:r>
                      <a:endParaRPr lang="ru-RU" sz="1200" b="1" dirty="0"/>
                    </a:p>
                  </a:txBody>
                  <a:tcPr/>
                </a:tc>
              </a:tr>
              <a:tr h="425436">
                <a:tc>
                  <a:txBody>
                    <a:bodyPr/>
                    <a:lstStyle/>
                    <a:p>
                      <a:r>
                        <a:rPr lang="ru-RU" sz="1200" i="1" dirty="0" smtClean="0"/>
                        <a:t>Безвозмездные поступления</a:t>
                      </a:r>
                      <a:r>
                        <a:rPr lang="ru-RU" sz="1200" i="1" baseline="0" dirty="0" smtClean="0"/>
                        <a:t> из других бюджетов бюджетной системы РФ, из них:</a:t>
                      </a:r>
                      <a:endParaRPr lang="ru-RU" sz="12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1 395 722,6</a:t>
                      </a:r>
                      <a:endParaRPr lang="ru-RU" sz="12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1 335 942,9</a:t>
                      </a:r>
                      <a:endParaRPr lang="ru-RU" sz="12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95,7</a:t>
                      </a:r>
                      <a:endParaRPr lang="ru-RU" sz="12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- 59</a:t>
                      </a:r>
                      <a:r>
                        <a:rPr lang="ru-RU" sz="1200" i="1" baseline="0" dirty="0" smtClean="0"/>
                        <a:t> 779,7</a:t>
                      </a:r>
                      <a:endParaRPr lang="ru-RU" sz="12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99,9</a:t>
                      </a:r>
                      <a:endParaRPr lang="ru-RU" sz="1200" i="1" dirty="0"/>
                    </a:p>
                  </a:txBody>
                  <a:tcPr/>
                </a:tc>
              </a:tr>
              <a:tr h="316312">
                <a:tc>
                  <a:txBody>
                    <a:bodyPr/>
                    <a:lstStyle/>
                    <a:p>
                      <a:r>
                        <a:rPr lang="ru-RU" sz="1200" i="1" dirty="0" smtClean="0"/>
                        <a:t>дотации</a:t>
                      </a:r>
                      <a:endParaRPr lang="ru-RU" sz="12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56 807,6</a:t>
                      </a:r>
                      <a:endParaRPr lang="ru-RU" sz="12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56 807,6</a:t>
                      </a:r>
                      <a:endParaRPr lang="ru-RU" sz="12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100,0</a:t>
                      </a:r>
                      <a:endParaRPr lang="ru-RU" sz="12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0,0</a:t>
                      </a:r>
                      <a:endParaRPr lang="ru-RU" sz="12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4,3</a:t>
                      </a:r>
                      <a:endParaRPr lang="ru-RU" sz="1200" i="1" dirty="0"/>
                    </a:p>
                  </a:txBody>
                  <a:tcPr/>
                </a:tc>
              </a:tr>
              <a:tr h="316312">
                <a:tc>
                  <a:txBody>
                    <a:bodyPr/>
                    <a:lstStyle/>
                    <a:p>
                      <a:r>
                        <a:rPr lang="ru-RU" sz="1200" i="1" dirty="0" smtClean="0"/>
                        <a:t>субсидии</a:t>
                      </a:r>
                      <a:endParaRPr lang="ru-RU" sz="12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330 693,0</a:t>
                      </a:r>
                      <a:endParaRPr lang="ru-RU" sz="12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276 735,5</a:t>
                      </a:r>
                      <a:endParaRPr lang="ru-RU" sz="12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83,7</a:t>
                      </a:r>
                      <a:endParaRPr lang="ru-RU" sz="12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- 53 957,5</a:t>
                      </a:r>
                      <a:endParaRPr lang="ru-RU" sz="12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20,7</a:t>
                      </a:r>
                      <a:endParaRPr lang="ru-RU" sz="1200" i="1" dirty="0"/>
                    </a:p>
                  </a:txBody>
                  <a:tcPr/>
                </a:tc>
              </a:tr>
              <a:tr h="316312">
                <a:tc>
                  <a:txBody>
                    <a:bodyPr/>
                    <a:lstStyle/>
                    <a:p>
                      <a:r>
                        <a:rPr lang="ru-RU" sz="1200" i="1" dirty="0" smtClean="0"/>
                        <a:t>субвенции</a:t>
                      </a:r>
                      <a:endParaRPr lang="ru-RU" sz="12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997 161,7</a:t>
                      </a:r>
                      <a:endParaRPr lang="ru-RU" sz="12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991 384,7</a:t>
                      </a:r>
                      <a:endParaRPr lang="ru-RU" sz="12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99,4</a:t>
                      </a:r>
                      <a:endParaRPr lang="ru-RU" sz="12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- 5 777,0</a:t>
                      </a:r>
                      <a:endParaRPr lang="ru-RU" sz="12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74,1</a:t>
                      </a:r>
                      <a:endParaRPr lang="ru-RU" sz="1200" i="1" dirty="0"/>
                    </a:p>
                  </a:txBody>
                  <a:tcPr/>
                </a:tc>
              </a:tr>
              <a:tr h="316312">
                <a:tc>
                  <a:txBody>
                    <a:bodyPr/>
                    <a:lstStyle/>
                    <a:p>
                      <a:r>
                        <a:rPr lang="ru-RU" sz="1200" i="1" dirty="0" smtClean="0"/>
                        <a:t>Иные межбюджетные трансферты</a:t>
                      </a:r>
                      <a:endParaRPr lang="ru-RU" sz="12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11 060,3</a:t>
                      </a:r>
                      <a:endParaRPr lang="ru-RU" sz="12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11 015,0</a:t>
                      </a:r>
                      <a:endParaRPr lang="ru-RU" sz="12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99,6</a:t>
                      </a:r>
                      <a:endParaRPr lang="ru-RU" sz="12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-45,3</a:t>
                      </a:r>
                      <a:endParaRPr lang="ru-RU" sz="12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0,8</a:t>
                      </a:r>
                      <a:endParaRPr lang="ru-RU" sz="1200" i="1" dirty="0"/>
                    </a:p>
                  </a:txBody>
                  <a:tcPr/>
                </a:tc>
              </a:tr>
              <a:tr h="316312">
                <a:tc>
                  <a:txBody>
                    <a:bodyPr/>
                    <a:lstStyle/>
                    <a:p>
                      <a:r>
                        <a:rPr lang="ru-RU" sz="1200" i="1" dirty="0" smtClean="0"/>
                        <a:t>Прочие</a:t>
                      </a:r>
                      <a:r>
                        <a:rPr lang="ru-RU" sz="1200" i="1" baseline="0" dirty="0" smtClean="0"/>
                        <a:t> безвозмездные поступления</a:t>
                      </a:r>
                      <a:endParaRPr lang="ru-RU" sz="12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3 663,3</a:t>
                      </a:r>
                      <a:endParaRPr lang="ru-RU" sz="12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3 671,2</a:t>
                      </a:r>
                      <a:endParaRPr lang="ru-RU" sz="12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100,2</a:t>
                      </a:r>
                      <a:endParaRPr lang="ru-RU" sz="12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7,9</a:t>
                      </a:r>
                      <a:endParaRPr lang="ru-RU" sz="12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0,3</a:t>
                      </a:r>
                      <a:endParaRPr lang="ru-RU" sz="1200" i="1" dirty="0"/>
                    </a:p>
                  </a:txBody>
                  <a:tcPr/>
                </a:tc>
              </a:tr>
              <a:tr h="595610">
                <a:tc>
                  <a:txBody>
                    <a:bodyPr/>
                    <a:lstStyle/>
                    <a:p>
                      <a:r>
                        <a:rPr lang="ru-RU" sz="1200" i="1" dirty="0" smtClean="0"/>
                        <a:t>Возврат остатков субсидий, субвенций и иных межбюджетных трансфертов, имеющих целевое назначение прошлых лет</a:t>
                      </a:r>
                      <a:endParaRPr lang="ru-RU" sz="12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- 3 108,4</a:t>
                      </a:r>
                      <a:endParaRPr lang="ru-RU" sz="12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- 3 108,4</a:t>
                      </a:r>
                      <a:endParaRPr lang="ru-RU" sz="12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100,0</a:t>
                      </a:r>
                      <a:endParaRPr lang="ru-RU" sz="12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0,0</a:t>
                      </a:r>
                      <a:endParaRPr lang="ru-RU" sz="12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ru-RU" sz="1200" i="1" dirty="0" smtClean="0"/>
                        <a:t>-0,2</a:t>
                      </a:r>
                      <a:endParaRPr lang="ru-RU" sz="1200" i="1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Заголовок 1"/>
          <p:cNvSpPr txBox="1">
            <a:spLocks/>
          </p:cNvSpPr>
          <p:nvPr/>
        </p:nvSpPr>
        <p:spPr>
          <a:xfrm>
            <a:off x="7391400" y="1143000"/>
            <a:ext cx="1447800" cy="381000"/>
          </a:xfrm>
          <a:prstGeom prst="rect">
            <a:avLst/>
          </a:prstGeom>
        </p:spPr>
        <p:txBody>
          <a:bodyPr vert="horz" lIns="0" tIns="0" rIns="0" bIns="0" anchor="ctr" anchorCtr="1">
            <a:normAutofit fontScale="82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                                                                                                                 </a:t>
            </a:r>
            <a:r>
              <a:rPr lang="ru-RU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тыс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. рублей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66800" y="838200"/>
            <a:ext cx="7696200" cy="381000"/>
          </a:xfrm>
          <a:solidFill>
            <a:schemeClr val="bg1"/>
          </a:solidFill>
          <a:ln>
            <a:solidFill>
              <a:schemeClr val="accent4">
                <a:lumMod val="75000"/>
              </a:schemeClr>
            </a:solidFill>
          </a:ln>
        </p:spPr>
        <p:txBody>
          <a:bodyPr>
            <a:normAutofit/>
          </a:bodyPr>
          <a:lstStyle/>
          <a:p>
            <a:pPr algn="ctr"/>
            <a:r>
              <a:rPr lang="ru-RU" sz="1600" i="1" dirty="0" smtClean="0">
                <a:effectLst/>
              </a:rPr>
              <a:t>Безвозмездные поступления в 2016 – 2017 годах</a:t>
            </a:r>
            <a:endParaRPr lang="ru-RU" sz="1600" i="1" dirty="0">
              <a:effectLst/>
            </a:endParaRPr>
          </a:p>
        </p:txBody>
      </p:sp>
      <p:pic>
        <p:nvPicPr>
          <p:cNvPr id="3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1"/>
            <a:ext cx="914399" cy="1066799"/>
          </a:xfrm>
          <a:prstGeom prst="rect">
            <a:avLst/>
          </a:prstGeom>
          <a:noFill/>
        </p:spPr>
      </p:pic>
      <p:graphicFrame>
        <p:nvGraphicFramePr>
          <p:cNvPr id="4" name="Диаграмма 3"/>
          <p:cNvGraphicFramePr/>
          <p:nvPr/>
        </p:nvGraphicFramePr>
        <p:xfrm>
          <a:off x="152400" y="1600200"/>
          <a:ext cx="8991600" cy="4495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Заголовок 1"/>
          <p:cNvSpPr txBox="1">
            <a:spLocks/>
          </p:cNvSpPr>
          <p:nvPr/>
        </p:nvSpPr>
        <p:spPr>
          <a:xfrm>
            <a:off x="990600" y="228600"/>
            <a:ext cx="7772400" cy="3048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lIns="0" tIns="0" rIns="0" bIns="0" anchor="ctr" anchorCtr="1">
            <a:normAutofit fontScale="975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Доходы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бюджета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chemeClr val="accent4">
                  <a:lumMod val="50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6" name="Заголовок 4"/>
          <p:cNvSpPr txBox="1">
            <a:spLocks/>
          </p:cNvSpPr>
          <p:nvPr/>
        </p:nvSpPr>
        <p:spPr>
          <a:xfrm>
            <a:off x="304800" y="6248400"/>
            <a:ext cx="8686800" cy="457200"/>
          </a:xfrm>
          <a:prstGeom prst="rect">
            <a:avLst/>
          </a:prstGeom>
          <a:solidFill>
            <a:schemeClr val="bg1"/>
          </a:solidFill>
        </p:spPr>
        <p:txBody>
          <a:bodyPr vert="horz" anchor="t" anchorCtr="0">
            <a:normAutofit fontScale="67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Наибольший удельный вес в структуре безвозмездных поступлений </a:t>
            </a:r>
            <a:r>
              <a:rPr kumimoji="0" lang="ru-RU" sz="1600" b="0" i="0" u="none" strike="noStrike" kern="1200" cap="all" spc="0" normalizeH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приходится на : субвенции (исполнение передаваемых полномочий субъекта) -74,1 % (в 2016 году – 82,8%), субсидии – 20,7% (в 2016 году – 15,3%), дотации – 4,3% (в 2016 году – 0,9%)</a:t>
            </a:r>
            <a:endParaRPr kumimoji="0" lang="ru-RU" sz="1600" b="0" i="0" u="none" strike="noStrike" kern="1200" cap="all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7391400" y="1219200"/>
            <a:ext cx="1447800" cy="304800"/>
          </a:xfrm>
          <a:prstGeom prst="rect">
            <a:avLst/>
          </a:prstGeom>
        </p:spPr>
        <p:txBody>
          <a:bodyPr vert="horz" lIns="0" tIns="0" rIns="0" bIns="0" anchor="ctr" anchorCtr="1">
            <a:normAutofit fontScale="67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                                                                                                                 </a:t>
            </a:r>
            <a:r>
              <a:rPr lang="ru-RU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тыс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. рублей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3" name="Заголовок 1"/>
          <p:cNvSpPr txBox="1">
            <a:spLocks/>
          </p:cNvSpPr>
          <p:nvPr/>
        </p:nvSpPr>
        <p:spPr>
          <a:xfrm>
            <a:off x="1143000" y="152400"/>
            <a:ext cx="7543800" cy="381000"/>
          </a:xfrm>
          <a:prstGeom prst="rect">
            <a:avLst/>
          </a:prstGeom>
          <a:solidFill>
            <a:schemeClr val="bg1"/>
          </a:solidFill>
          <a:ln>
            <a:solidFill>
              <a:srgbClr val="7030A0"/>
            </a:solidFill>
          </a:ln>
        </p:spPr>
        <p:txBody>
          <a:bodyPr tIns="0" anchor="ctr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Расходы бюджета</a:t>
            </a:r>
            <a:endParaRPr kumimoji="0" lang="ru-RU" sz="1800" b="0" i="0" u="none" strike="noStrike" kern="1200" cap="all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7" name="Содержимое 5"/>
          <p:cNvGraphicFramePr>
            <a:graphicFrameLocks/>
          </p:cNvGraphicFramePr>
          <p:nvPr/>
        </p:nvGraphicFramePr>
        <p:xfrm>
          <a:off x="457200" y="1600200"/>
          <a:ext cx="84582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Заголовок 1"/>
          <p:cNvSpPr txBox="1">
            <a:spLocks/>
          </p:cNvSpPr>
          <p:nvPr/>
        </p:nvSpPr>
        <p:spPr>
          <a:xfrm>
            <a:off x="7391400" y="1219200"/>
            <a:ext cx="1371600" cy="2286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lIns="0" tIns="0" rIns="0" bIns="0" anchor="ctr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тыс. рублей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accent4">
                  <a:lumMod val="50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990600" y="685800"/>
            <a:ext cx="7696200" cy="457200"/>
          </a:xfrm>
          <a:prstGeom prst="rect">
            <a:avLst/>
          </a:prstGeom>
          <a:solidFill>
            <a:schemeClr val="bg1"/>
          </a:solidFill>
          <a:ln>
            <a:solidFill>
              <a:srgbClr val="7030A0"/>
            </a:solidFill>
          </a:ln>
        </p:spPr>
        <p:txBody>
          <a:bodyPr vert="horz" lIns="0" tIns="0" rIns="0" bIns="0" anchor="ctr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Исполнение бюджета по расходам (функциональная структура) в 2017 году</a:t>
            </a:r>
            <a:endParaRPr kumimoji="0" lang="ru-RU" sz="1600" b="0" i="1" u="none" strike="noStrike" kern="1200" cap="none" spc="0" normalizeH="0" baseline="0" noProof="0" dirty="0">
              <a:ln>
                <a:noFill/>
              </a:ln>
              <a:solidFill>
                <a:schemeClr val="accent4">
                  <a:lumMod val="50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3" name="Заголовок 1"/>
          <p:cNvSpPr txBox="1">
            <a:spLocks/>
          </p:cNvSpPr>
          <p:nvPr/>
        </p:nvSpPr>
        <p:spPr>
          <a:xfrm>
            <a:off x="1143000" y="152400"/>
            <a:ext cx="7543800" cy="381000"/>
          </a:xfrm>
          <a:prstGeom prst="rect">
            <a:avLst/>
          </a:prstGeom>
          <a:solidFill>
            <a:schemeClr val="bg1"/>
          </a:solidFill>
          <a:ln>
            <a:solidFill>
              <a:srgbClr val="7030A0"/>
            </a:solidFill>
          </a:ln>
        </p:spPr>
        <p:txBody>
          <a:bodyPr tIns="0" anchor="ctr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Расходы бюджета</a:t>
            </a:r>
            <a:endParaRPr kumimoji="0" lang="ru-RU" sz="1800" b="0" i="0" u="none" strike="noStrike" kern="1200" cap="all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7" name="Содержимое 5"/>
          <p:cNvGraphicFramePr>
            <a:graphicFrameLocks/>
          </p:cNvGraphicFramePr>
          <p:nvPr/>
        </p:nvGraphicFramePr>
        <p:xfrm>
          <a:off x="457200" y="1600200"/>
          <a:ext cx="84582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Заголовок 1"/>
          <p:cNvSpPr txBox="1">
            <a:spLocks/>
          </p:cNvSpPr>
          <p:nvPr/>
        </p:nvSpPr>
        <p:spPr>
          <a:xfrm>
            <a:off x="7391400" y="1219200"/>
            <a:ext cx="1371600" cy="2286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lIns="0" tIns="0" rIns="0" bIns="0" anchor="ctr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тыс. рублей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accent4">
                  <a:lumMod val="50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990600" y="685800"/>
            <a:ext cx="7696200" cy="457200"/>
          </a:xfrm>
          <a:prstGeom prst="rect">
            <a:avLst/>
          </a:prstGeom>
          <a:solidFill>
            <a:schemeClr val="bg1"/>
          </a:solidFill>
          <a:ln>
            <a:solidFill>
              <a:srgbClr val="7030A0"/>
            </a:solidFill>
          </a:ln>
        </p:spPr>
        <p:txBody>
          <a:bodyPr vert="horz" lIns="0" tIns="0" rIns="0" bIns="0" anchor="ctr" anchorCtr="1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Структура расходов бюджета за 2016</a:t>
            </a:r>
            <a:r>
              <a:rPr kumimoji="0" lang="ru-RU" sz="1600" b="0" i="1" u="none" strike="noStrike" kern="1200" cap="none" spc="0" normalizeH="0" noProof="0" dirty="0" smtClean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– </a:t>
            </a:r>
            <a:r>
              <a:rPr kumimoji="0" lang="ru-RU" sz="16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accent4">
                    <a:lumMod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2017 годы</a:t>
            </a:r>
            <a:endParaRPr kumimoji="0" lang="ru-RU" sz="1600" b="0" i="1" u="none" strike="noStrike" kern="1200" cap="none" spc="0" normalizeH="0" baseline="0" noProof="0" dirty="0">
              <a:ln>
                <a:noFill/>
              </a:ln>
              <a:solidFill>
                <a:schemeClr val="accent4">
                  <a:lumMod val="50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629400" y="2133600"/>
            <a:ext cx="762000" cy="299690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000" b="1" dirty="0" smtClean="0">
                <a:solidFill>
                  <a:srgbClr val="00B050"/>
                </a:solidFill>
              </a:rPr>
              <a:t>+ 54 632,5</a:t>
            </a:r>
            <a:endParaRPr lang="ru-RU" sz="1000" b="1" dirty="0">
              <a:solidFill>
                <a:srgbClr val="00B050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5486400" y="2514600"/>
            <a:ext cx="685800" cy="304801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000" b="1" dirty="0" smtClean="0">
                <a:solidFill>
                  <a:srgbClr val="FF0000"/>
                </a:solidFill>
              </a:rPr>
              <a:t>-7 353,2</a:t>
            </a:r>
            <a:endParaRPr lang="ru-RU" sz="1000" b="1" dirty="0">
              <a:solidFill>
                <a:srgbClr val="FF0000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5257800" y="3048000"/>
            <a:ext cx="762000" cy="304800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000" b="1" dirty="0" smtClean="0">
                <a:solidFill>
                  <a:srgbClr val="00B050"/>
                </a:solidFill>
              </a:rPr>
              <a:t>+ 3 540,0</a:t>
            </a:r>
            <a:endParaRPr lang="ru-RU" sz="1000" b="1" dirty="0">
              <a:solidFill>
                <a:srgbClr val="00B050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5105400" y="3505200"/>
            <a:ext cx="762000" cy="228599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000" b="1" dirty="0" smtClean="0">
                <a:solidFill>
                  <a:srgbClr val="00B050"/>
                </a:solidFill>
              </a:rPr>
              <a:t>+ 4 262,2</a:t>
            </a:r>
            <a:endParaRPr lang="ru-RU" sz="1000" b="1" dirty="0">
              <a:solidFill>
                <a:srgbClr val="00B050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5410200" y="3886200"/>
            <a:ext cx="838200" cy="304799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000" b="1" dirty="0" smtClean="0">
                <a:solidFill>
                  <a:srgbClr val="00B050"/>
                </a:solidFill>
              </a:rPr>
              <a:t>+ 154 348,8</a:t>
            </a:r>
            <a:endParaRPr lang="ru-RU" sz="1000" b="1" dirty="0">
              <a:solidFill>
                <a:srgbClr val="00B050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105400" y="4419600"/>
            <a:ext cx="609600" cy="304799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000" b="1" dirty="0" smtClean="0">
                <a:solidFill>
                  <a:srgbClr val="FF0000"/>
                </a:solidFill>
              </a:rPr>
              <a:t>-1 025,5</a:t>
            </a:r>
            <a:endParaRPr lang="ru-RU" sz="1000" b="1" dirty="0">
              <a:solidFill>
                <a:srgbClr val="FF0000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4953000" y="4876800"/>
            <a:ext cx="533400" cy="304799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000" b="1" dirty="0" smtClean="0">
                <a:solidFill>
                  <a:srgbClr val="00B050"/>
                </a:solidFill>
              </a:rPr>
              <a:t>+ 903,4</a:t>
            </a:r>
            <a:endParaRPr lang="ru-RU" sz="1000" b="1" dirty="0">
              <a:solidFill>
                <a:srgbClr val="00B050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5029200" y="5334000"/>
            <a:ext cx="457200" cy="304799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000" b="1" dirty="0" smtClean="0">
                <a:solidFill>
                  <a:srgbClr val="00B050"/>
                </a:solidFill>
              </a:rPr>
              <a:t>+4,6</a:t>
            </a:r>
            <a:endParaRPr lang="ru-RU" sz="1000" b="1" dirty="0">
              <a:solidFill>
                <a:srgbClr val="00B050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5029200" y="5715000"/>
            <a:ext cx="457200" cy="304799"/>
          </a:xfrm>
          <a:prstGeom prst="rect">
            <a:avLst/>
          </a:prstGeom>
          <a:solidFill>
            <a:sysClr val="window" lastClr="FFFFFF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000" b="1" dirty="0" smtClean="0">
                <a:solidFill>
                  <a:srgbClr val="00B050"/>
                </a:solidFill>
              </a:rPr>
              <a:t>+ 6,4</a:t>
            </a:r>
            <a:endParaRPr lang="ru-RU" sz="1000" b="1" dirty="0">
              <a:solidFill>
                <a:srgbClr val="00B050"/>
              </a:solidFill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1"/>
            <a:ext cx="914399" cy="1066799"/>
          </a:xfrm>
          <a:prstGeom prst="rect">
            <a:avLst/>
          </a:prstGeom>
          <a:noFill/>
        </p:spPr>
      </p:pic>
      <p:pic>
        <p:nvPicPr>
          <p:cNvPr id="1026" name="Picture 2" descr="C:\Users\finupr\Desktop\943061167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2000" y="990600"/>
            <a:ext cx="3810000" cy="2514600"/>
          </a:xfrm>
          <a:prstGeom prst="rect">
            <a:avLst/>
          </a:prstGeom>
          <a:noFill/>
        </p:spPr>
      </p:pic>
      <p:sp>
        <p:nvSpPr>
          <p:cNvPr id="7" name="TextBox 8"/>
          <p:cNvSpPr txBox="1">
            <a:spLocks noChangeArrowheads="1"/>
          </p:cNvSpPr>
          <p:nvPr/>
        </p:nvSpPr>
        <p:spPr bwMode="auto">
          <a:xfrm>
            <a:off x="1447800" y="304800"/>
            <a:ext cx="6172200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 smtClean="0">
                <a:solidFill>
                  <a:prstClr val="black"/>
                </a:solidFill>
                <a:latin typeface="Calibri" pitchFamily="34" charset="0"/>
              </a:rPr>
              <a:t> ФИНАНСОВОЕ УПРАВЛЕНИЕ АДМИНИСТРАЦИИ ТАЙШЕТСКОГО РАЙОНА</a:t>
            </a:r>
            <a:endParaRPr lang="en-US" sz="1100" dirty="0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762000" y="3581400"/>
            <a:ext cx="4648200" cy="289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prstClr val="black"/>
                </a:solidFill>
                <a:latin typeface="Calibri" pitchFamily="34" charset="0"/>
              </a:rPr>
              <a:t>Представленная брошюра подготовлена в рамках мероприятий, направленных на повышение уровня открытости и понятности бюджетных данных.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400" dirty="0" smtClean="0">
              <a:solidFill>
                <a:prstClr val="black"/>
              </a:solidFill>
              <a:latin typeface="Calibri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prstClr val="black"/>
                </a:solidFill>
                <a:latin typeface="Calibri" pitchFamily="34" charset="0"/>
              </a:rPr>
              <a:t>Бюджет – это основа устойчивого развития нашего района, а прозрачность расходования бюджетных средств – один из ключевых приоритетов работы органов местного самоуправления Тайшетского района (муниципалитета).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1400" dirty="0" smtClean="0">
              <a:solidFill>
                <a:prstClr val="black"/>
              </a:solidFill>
              <a:latin typeface="Calibri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prstClr val="black"/>
                </a:solidFill>
                <a:latin typeface="Calibri" pitchFamily="34" charset="0"/>
              </a:rPr>
              <a:t>В  представленной брошюре  подведены итоги исполнения бюджета муниципального образования «Тайшетский район» за 2017 г.</a:t>
            </a:r>
            <a:endParaRPr lang="en-US" sz="1400" dirty="0" smtClean="0">
              <a:solidFill>
                <a:prstClr val="black"/>
              </a:solidFill>
              <a:latin typeface="Calibri" pitchFamily="34" charset="0"/>
            </a:endParaRPr>
          </a:p>
        </p:txBody>
      </p:sp>
      <p:pic>
        <p:nvPicPr>
          <p:cNvPr id="13" name="Picture 2" descr="C:\Documents and Settings\finupr\Рабочий стол\к отчету мэра за 2013 г\karta_rajona.jpg"/>
          <p:cNvPicPr>
            <a:picLocks noGrp="1" noChangeAspect="1" noChangeArrowheads="1"/>
          </p:cNvPicPr>
          <p:nvPr>
            <p:ph idx="1"/>
          </p:nvPr>
        </p:nvPicPr>
        <p:blipFill>
          <a:blip r:embed="rId4" cstate="print"/>
          <a:stretch>
            <a:fillRect/>
          </a:stretch>
        </p:blipFill>
        <p:spPr bwMode="auto">
          <a:xfrm>
            <a:off x="5410200" y="914400"/>
            <a:ext cx="3276600" cy="54864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762000"/>
            <a:ext cx="7772400" cy="304800"/>
          </a:xfrm>
          <a:solidFill>
            <a:schemeClr val="bg1"/>
          </a:solidFill>
          <a:ln>
            <a:solidFill>
              <a:srgbClr val="7030A0"/>
            </a:solidFill>
          </a:ln>
        </p:spPr>
        <p:txBody>
          <a:bodyPr anchor="ctr" anchorCtr="1">
            <a:noAutofit/>
          </a:bodyPr>
          <a:lstStyle/>
          <a:p>
            <a:pPr algn="ctr"/>
            <a:r>
              <a:rPr lang="ru-RU" sz="1600" i="1" dirty="0" smtClean="0">
                <a:solidFill>
                  <a:schemeClr val="accent5">
                    <a:lumMod val="50000"/>
                  </a:schemeClr>
                </a:solidFill>
                <a:effectLst/>
              </a:rPr>
              <a:t>Исполнение расходной части районного бюджета в 2017 году</a:t>
            </a:r>
            <a:endParaRPr lang="ru-RU" sz="1600" i="1" dirty="0">
              <a:solidFill>
                <a:schemeClr val="accent5">
                  <a:lumMod val="50000"/>
                </a:schemeClr>
              </a:solidFill>
              <a:effectLst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609598" y="1523998"/>
          <a:ext cx="7315202" cy="2456705"/>
        </p:xfrm>
        <a:graphic>
          <a:graphicData uri="http://schemas.openxmlformats.org/drawingml/2006/table">
            <a:tbl>
              <a:tblPr firstRow="1" bandRow="1">
                <a:tableStyleId>{C4B1156A-380E-4F78-BDF5-A606A8083BF9}</a:tableStyleId>
              </a:tblPr>
              <a:tblGrid>
                <a:gridCol w="2533854"/>
                <a:gridCol w="1210834"/>
                <a:gridCol w="1306286"/>
                <a:gridCol w="1393371"/>
                <a:gridCol w="870857"/>
              </a:tblGrid>
              <a:tr h="713216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Наименование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2017 год План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2017 год Факт</a:t>
                      </a:r>
                    </a:p>
                    <a:p>
                      <a:pPr algn="ctr"/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Исполнение %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Уд. вес, %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530974">
                <a:tc>
                  <a:txBody>
                    <a:bodyPr/>
                    <a:lstStyle/>
                    <a:p>
                      <a:r>
                        <a:rPr lang="ru-RU" sz="1800" dirty="0" smtClean="0"/>
                        <a:t>Расходы, всего </a:t>
                      </a:r>
                      <a:endParaRPr lang="ru-RU" sz="18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836 483,9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738 289,6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94,7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00,0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577365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Муниципальные программы*</a:t>
                      </a:r>
                      <a:endParaRPr lang="ru-RU" sz="14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1 806 357,6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1 713 682,8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94,9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98,6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616846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Непрограммные мероприятия</a:t>
                      </a:r>
                      <a:endParaRPr lang="ru-RU" sz="1400" i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30 126,3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24 606,8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81,7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1,4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5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6" name="Заголовок 1"/>
          <p:cNvSpPr txBox="1">
            <a:spLocks/>
          </p:cNvSpPr>
          <p:nvPr/>
        </p:nvSpPr>
        <p:spPr>
          <a:xfrm>
            <a:off x="914400" y="152400"/>
            <a:ext cx="7772400" cy="381000"/>
          </a:xfrm>
          <a:prstGeom prst="rect">
            <a:avLst/>
          </a:prstGeom>
          <a:solidFill>
            <a:schemeClr val="bg1"/>
          </a:solidFill>
          <a:ln>
            <a:solidFill>
              <a:srgbClr val="7030A0"/>
            </a:solidFill>
          </a:ln>
        </p:spPr>
        <p:txBody>
          <a:bodyPr vert="horz" lIns="0" rIns="0" bIns="0" anchor="ctr" anchorCtr="1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Расходы бюджета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609600" y="4191000"/>
            <a:ext cx="7924800" cy="4572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lIns="0" rIns="0" bIns="0" anchor="ctr" anchorCtr="1">
            <a:normAutofit fontScale="82500" lnSpcReduction="20000"/>
          </a:bodyPr>
          <a:lstStyle/>
          <a:p>
            <a:pPr lvl="0" algn="just">
              <a:spcBef>
                <a:spcPct val="0"/>
              </a:spcBef>
            </a:pPr>
            <a:r>
              <a:rPr lang="ru-RU" sz="1100" i="1" dirty="0" smtClean="0">
                <a:latin typeface="Times New Roman" pitchFamily="18" charset="0"/>
                <a:cs typeface="Times New Roman" pitchFamily="18" charset="0"/>
              </a:rPr>
              <a:t>*</a:t>
            </a:r>
            <a:r>
              <a:rPr lang="ru-RU" sz="1300" i="1" dirty="0" smtClean="0">
                <a:latin typeface="Times New Roman" pitchFamily="18" charset="0"/>
                <a:cs typeface="Times New Roman" pitchFamily="18" charset="0"/>
              </a:rPr>
              <a:t>Муниципальная программа - система мероприятий, взаимоувязанных по задачам, срокам осуществления, исполнителям, ресурсам и обеспечивает наиболее эффективное достижение цели и решения задач социально – экономического развития муниципального образования «Тайшетский район» </a:t>
            </a:r>
            <a:endParaRPr kumimoji="0" lang="ru-RU" sz="1300" b="0" i="1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2971800" y="4953000"/>
            <a:ext cx="5562600" cy="9906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wrap="square" lIns="0" tIns="72000" rIns="0" bIns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 </a:t>
            </a:r>
            <a:r>
              <a:rPr kumimoji="0" lang="ru-RU" sz="1200" i="0" u="none" strike="noStrike" kern="1200" cap="none" spc="0" normalizeH="0" baseline="0" noProof="0" dirty="0" smtClean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В 2017 году  </a:t>
            </a:r>
            <a:r>
              <a:rPr lang="ru-RU" sz="1200" dirty="0" smtClean="0">
                <a:solidFill>
                  <a:srgbClr val="333399"/>
                </a:solidFill>
                <a:latin typeface="+mj-lt"/>
                <a:ea typeface="+mj-ea"/>
                <a:cs typeface="+mj-cs"/>
              </a:rPr>
              <a:t>действовали 10</a:t>
            </a:r>
            <a:r>
              <a:rPr kumimoji="0" lang="ru-RU" sz="1200" i="0" u="none" strike="noStrike" kern="1200" cap="none" spc="0" normalizeH="0" baseline="0" noProof="0" dirty="0" smtClean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муниципальных программ, представляющих 98,6 % расходов бюджета,</a:t>
            </a:r>
            <a:r>
              <a:rPr kumimoji="0" lang="ru-RU" sz="1200" i="0" u="none" strike="noStrike" kern="1200" cap="none" spc="0" normalizeH="0" noProof="0" dirty="0" smtClean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из них </a:t>
            </a:r>
            <a:r>
              <a:rPr kumimoji="0" lang="ru-RU" sz="1200" i="0" u="none" strike="noStrike" kern="1200" cap="none" spc="0" normalizeH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финансовое</a:t>
            </a:r>
            <a:r>
              <a:rPr kumimoji="0" lang="ru-RU" sz="1200" i="0" u="none" strike="noStrike" kern="1200" cap="none" spc="0" normalizeH="0" noProof="0" dirty="0" smtClean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обеспечение  муниципальной программы  «Развитие сельского хозяйства и регулирования рынков сельскохозяйственной продукции, сырья и продовольствия» на 2014-2017 годы и на период до 2020 года» в 2017 году  не предусмотрено</a:t>
            </a:r>
            <a:endParaRPr kumimoji="0" lang="ru-RU" sz="1200" i="0" u="none" strike="noStrike" kern="1200" cap="none" spc="0" normalizeH="0" baseline="0" noProof="0" dirty="0" smtClean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i="0" u="none" strike="noStrike" kern="1200" cap="none" spc="0" normalizeH="0" baseline="0" noProof="0" dirty="0" smtClean="0">
                <a:ln>
                  <a:noFill/>
                </a:ln>
                <a:solidFill>
                  <a:srgbClr val="333399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 </a:t>
            </a:r>
            <a:endParaRPr kumimoji="0" lang="ru-RU" sz="1200" i="0" u="none" strike="noStrike" kern="1200" cap="none" spc="0" normalizeH="0" baseline="0" noProof="0" dirty="0">
              <a:ln>
                <a:noFill/>
              </a:ln>
              <a:solidFill>
                <a:srgbClr val="333399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7391400" y="1143000"/>
            <a:ext cx="1447800" cy="304800"/>
          </a:xfrm>
          <a:prstGeom prst="rect">
            <a:avLst/>
          </a:prstGeom>
        </p:spPr>
        <p:txBody>
          <a:bodyPr vert="horz" lIns="0" tIns="0" rIns="0" bIns="0" anchor="ctr" anchorCtr="1">
            <a:normAutofit fontScale="60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                                                                                                                 </a:t>
            </a:r>
            <a:r>
              <a:rPr lang="ru-RU" sz="23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тыс</a:t>
            </a:r>
            <a:r>
              <a:rPr kumimoji="0" lang="ru-RU" sz="2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. рублей</a:t>
            </a:r>
            <a:endParaRPr kumimoji="0" lang="ru-RU" sz="23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2050" name="Picture 2" descr="C:\Documents and Settings\Admin\Рабочий стол\3802ba4e127696d2e5d67dc1025ac07b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09601" y="4843463"/>
            <a:ext cx="2057399" cy="1381125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04800"/>
            <a:ext cx="8077200" cy="609600"/>
          </a:xfrm>
          <a:solidFill>
            <a:schemeClr val="bg1"/>
          </a:solidFill>
          <a:ln>
            <a:solidFill>
              <a:srgbClr val="7030A0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 anchorCtr="1">
            <a:noAutofit/>
            <a:scene3d>
              <a:camera prst="orthographicFront"/>
              <a:lightRig rig="brightRoom" dir="t"/>
            </a:scene3d>
            <a:sp3d contourW="6350" prstMaterial="plastic">
              <a:bevelT w="20320" h="20320" prst="angle"/>
              <a:contourClr>
                <a:schemeClr val="accent1">
                  <a:tint val="100000"/>
                  <a:shade val="100000"/>
                  <a:hueMod val="100000"/>
                  <a:satMod val="100000"/>
                </a:schemeClr>
              </a:contourClr>
            </a:sp3d>
          </a:bodyPr>
          <a:lstStyle/>
          <a:p>
            <a:pPr algn="ctr"/>
            <a:r>
              <a:rPr lang="ru-RU" sz="1600" cap="all" dirty="0" smtClean="0">
                <a:ln/>
                <a:solidFill>
                  <a:srgbClr val="7030A0"/>
                </a:solidFill>
                <a:effectLst/>
              </a:rPr>
              <a:t>Муниципальная программа муниципального образования «Тайшетский  район»  «Молодым семьям – доступное жилье» на 2014 – 2019 годы</a:t>
            </a:r>
            <a:endParaRPr lang="ru-RU" sz="1600" cap="all" dirty="0">
              <a:ln/>
              <a:solidFill>
                <a:srgbClr val="7030A0"/>
              </a:solidFill>
              <a:effectLst/>
            </a:endParaRPr>
          </a:p>
        </p:txBody>
      </p:sp>
      <p:sp>
        <p:nvSpPr>
          <p:cNvPr id="10" name="Заголовок 1"/>
          <p:cNvSpPr txBox="1">
            <a:spLocks noGrp="1"/>
          </p:cNvSpPr>
          <p:nvPr>
            <p:ph idx="1"/>
          </p:nvPr>
        </p:nvSpPr>
        <p:spPr>
          <a:xfrm>
            <a:off x="152400" y="3505200"/>
            <a:ext cx="4191000" cy="6096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marL="0" lvl="0" indent="0" algn="ctr">
              <a:spcBef>
                <a:spcPct val="0"/>
              </a:spcBef>
              <a:buClrTx/>
              <a:buSzTx/>
              <a:buNone/>
              <a:defRPr/>
            </a:pP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Финансовое обеспечение реализации муниципальной программы </a:t>
            </a:r>
            <a:r>
              <a:rPr lang="ru-RU" sz="1200" cap="all" dirty="0" smtClean="0">
                <a:ln/>
                <a:solidFill>
                  <a:srgbClr val="7030A0"/>
                </a:solidFill>
                <a:latin typeface="+mj-lt"/>
              </a:rPr>
              <a:t>«Молодым семьям – доступное жилье»</a:t>
            </a: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за 2017 год</a:t>
            </a:r>
            <a:endParaRPr kumimoji="0" lang="ru-RU" sz="12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2895600" y="1219200"/>
            <a:ext cx="3276600" cy="9144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ru-RU" sz="1200" dirty="0" smtClean="0">
                <a:latin typeface="Palatino Linotype" pitchFamily="18" charset="0"/>
              </a:rPr>
              <a:t>Цель программы – создание механизма муниципальной поддержки молодых семей в решении жилищной проблемы на территории Тайшетского района</a:t>
            </a:r>
            <a:endParaRPr lang="ru-RU" sz="1200" b="1" dirty="0" smtClean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Palatino Linotype" pitchFamily="18" charset="0"/>
            </a:endParaRPr>
          </a:p>
        </p:txBody>
      </p:sp>
      <p:sp>
        <p:nvSpPr>
          <p:cNvPr id="6" name="Содержимое 2"/>
          <p:cNvSpPr txBox="1">
            <a:spLocks/>
          </p:cNvSpPr>
          <p:nvPr/>
        </p:nvSpPr>
        <p:spPr>
          <a:xfrm>
            <a:off x="2819400" y="2286000"/>
            <a:ext cx="3581400" cy="9906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>
            <a:normAutofit fontScale="92500"/>
          </a:bodyPr>
          <a:lstStyle/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Для достижения цели Программы предлагается решение основной задачи: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едоставление молодым семьям социальных выплат на приобретение жилого помещения или строительство индивидуального жилого дома.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74320" marR="0" lvl="0" indent="-27432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5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1"/>
            <a:ext cx="838200" cy="990600"/>
          </a:xfrm>
          <a:prstGeom prst="rect">
            <a:avLst/>
          </a:prstGeom>
          <a:noFill/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3048000" y="4191000"/>
            <a:ext cx="1295400" cy="3048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Тыс. рублей</a:t>
            </a:r>
            <a:endParaRPr kumimoji="0" lang="ru-RU" sz="8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12" name="Содержимое 17"/>
          <p:cNvGraphicFramePr>
            <a:graphicFrameLocks/>
          </p:cNvGraphicFramePr>
          <p:nvPr/>
        </p:nvGraphicFramePr>
        <p:xfrm>
          <a:off x="152400" y="4571999"/>
          <a:ext cx="4191000" cy="1981201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371600"/>
                <a:gridCol w="838200"/>
                <a:gridCol w="838200"/>
                <a:gridCol w="1143000"/>
              </a:tblGrid>
              <a:tr h="316974"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План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Факт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Исполнение, %</a:t>
                      </a:r>
                      <a:endParaRPr lang="ru-RU" sz="1000" dirty="0"/>
                    </a:p>
                  </a:txBody>
                  <a:tcPr/>
                </a:tc>
              </a:tr>
              <a:tr h="29262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Всего</a:t>
                      </a:r>
                      <a:r>
                        <a:rPr lang="ru-RU" sz="1200" baseline="0" dirty="0" smtClean="0"/>
                        <a:t> расходов</a:t>
                      </a:r>
                      <a:endParaRPr lang="ru-RU" sz="12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5 928,1</a:t>
                      </a:r>
                      <a:endParaRPr lang="ru-RU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5 907,8</a:t>
                      </a:r>
                      <a:endParaRPr lang="ru-RU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99,7</a:t>
                      </a:r>
                      <a:endParaRPr lang="ru-RU" sz="1200" b="1" dirty="0"/>
                    </a:p>
                  </a:txBody>
                  <a:tcPr/>
                </a:tc>
              </a:tr>
              <a:tr h="416799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Федеральный бюджет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 726,8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 715,9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99,4</a:t>
                      </a:r>
                      <a:endParaRPr lang="ru-RU" sz="1200" dirty="0"/>
                    </a:p>
                  </a:txBody>
                  <a:tcPr/>
                </a:tc>
              </a:tr>
              <a:tr h="416799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Областной бюджет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 549,4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 539,9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99,4</a:t>
                      </a:r>
                      <a:endParaRPr lang="ru-RU" sz="1200" dirty="0"/>
                    </a:p>
                  </a:txBody>
                  <a:tcPr/>
                </a:tc>
              </a:tr>
              <a:tr h="416799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Районный бюджет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2 652,0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2 652,0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00,0</a:t>
                      </a:r>
                      <a:endParaRPr lang="ru-RU" sz="12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3" name="Заголовок 1"/>
          <p:cNvSpPr txBox="1">
            <a:spLocks/>
          </p:cNvSpPr>
          <p:nvPr/>
        </p:nvSpPr>
        <p:spPr>
          <a:xfrm>
            <a:off x="4572000" y="4648200"/>
            <a:ext cx="4267200" cy="457199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реализация муниципальной программы </a:t>
            </a:r>
            <a:r>
              <a:rPr lang="ru-RU" sz="1200" cap="all" dirty="0" smtClean="0">
                <a:ln/>
                <a:solidFill>
                  <a:srgbClr val="7030A0"/>
                </a:solidFill>
                <a:latin typeface="+mj-lt"/>
              </a:rPr>
              <a:t>«Молодым семьям – доступное жилье»</a:t>
            </a:r>
            <a:r>
              <a:rPr lang="ru-RU" sz="1200" cap="all" dirty="0" smtClean="0">
                <a:solidFill>
                  <a:srgbClr val="7030A0"/>
                </a:solidFill>
                <a:latin typeface="+mj-lt"/>
              </a:rPr>
              <a:t> </a:t>
            </a: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за 2017 год</a:t>
            </a:r>
            <a:endParaRPr kumimoji="0" lang="ru-RU" sz="12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4" name="Содержимое 2"/>
          <p:cNvSpPr txBox="1">
            <a:spLocks/>
          </p:cNvSpPr>
          <p:nvPr/>
        </p:nvSpPr>
        <p:spPr>
          <a:xfrm>
            <a:off x="4572000" y="5257800"/>
            <a:ext cx="4267200" cy="12954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>
            <a:normAutofit/>
          </a:bodyPr>
          <a:lstStyle/>
          <a:p>
            <a:pPr marL="342900" lvl="0" indent="-342900" algn="just">
              <a:spcBef>
                <a:spcPct val="20000"/>
              </a:spcBef>
              <a:buClr>
                <a:schemeClr val="accent1"/>
              </a:buClr>
              <a:buSzPct val="70000"/>
              <a:buFont typeface="Wingdings" pitchFamily="2" charset="2"/>
              <a:buChar char="v"/>
              <a:defRPr/>
            </a:pPr>
            <a:r>
              <a:rPr kumimoji="0" lang="ru-RU" sz="120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За счет государственной поддержки в 201</a:t>
            </a:r>
            <a:r>
              <a:rPr kumimoji="0" lang="en-US" sz="120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7</a:t>
            </a:r>
            <a:r>
              <a:rPr kumimoji="0" lang="ru-RU" sz="120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году             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10</a:t>
            </a:r>
            <a:r>
              <a:rPr kumimoji="0" lang="ru-RU" sz="120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 молодых семей улучшили свои жилищные условия.</a:t>
            </a:r>
          </a:p>
          <a:p>
            <a:pPr marL="342900" lvl="0" indent="-342900" algn="just">
              <a:spcBef>
                <a:spcPct val="20000"/>
              </a:spcBef>
              <a:buClr>
                <a:schemeClr val="accent1"/>
              </a:buClr>
              <a:buSzPct val="70000"/>
              <a:buFont typeface="Wingdings" pitchFamily="2" charset="2"/>
              <a:buChar char="v"/>
              <a:defRPr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За счет средств областного бюджета </a:t>
            </a:r>
            <a:r>
              <a:rPr lang="en-US" sz="1200" b="1" dirty="0" smtClean="0"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молодая семья получила дополнительную социальную выплату </a:t>
            </a:r>
            <a:r>
              <a:rPr kumimoji="0" lang="ru-RU" sz="120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при рождении (усыновлении) ребенка.</a:t>
            </a:r>
            <a:endParaRPr lang="ru-RU" sz="1200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6248400" y="1143000"/>
            <a:ext cx="2590800" cy="914400"/>
          </a:xfrm>
          <a:prstGeom prst="roundRect">
            <a:avLst/>
          </a:prstGeom>
          <a:solidFill>
            <a:srgbClr val="FFFF99"/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latin typeface="Palatino Linotype" pitchFamily="18" charset="0"/>
              </a:rPr>
              <a:t>Ответственный исполнитель Программы – Управление культуры, спорта и молодежной политики администрации Тайшетского района</a:t>
            </a:r>
            <a:endParaRPr lang="ru-RU" sz="1000" b="1" dirty="0" smtClean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Palatino Linotype" pitchFamily="18" charset="0"/>
            </a:endParaRPr>
          </a:p>
        </p:txBody>
      </p:sp>
      <p:pic>
        <p:nvPicPr>
          <p:cNvPr id="3" name="Picture 2" descr="C:\Documents and Settings\Admin\Рабочий стол\111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705600" y="2362200"/>
            <a:ext cx="1905000" cy="2057400"/>
          </a:xfrm>
          <a:prstGeom prst="rect">
            <a:avLst/>
          </a:prstGeom>
          <a:noFill/>
        </p:spPr>
      </p:pic>
      <p:pic>
        <p:nvPicPr>
          <p:cNvPr id="4" name="Picture 3" descr="C:\Documents and Settings\Admin\Рабочий стол\82_21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4800" y="1143000"/>
            <a:ext cx="2209800" cy="21336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304800"/>
            <a:ext cx="7924800" cy="457200"/>
          </a:xfrm>
          <a:solidFill>
            <a:schemeClr val="bg1"/>
          </a:solidFill>
          <a:ln>
            <a:solidFill>
              <a:srgbClr val="00B050"/>
            </a:solidFill>
          </a:ln>
        </p:spPr>
        <p:txBody>
          <a:bodyPr>
            <a:normAutofit fontScale="90000"/>
          </a:bodyPr>
          <a:lstStyle/>
          <a:p>
            <a:pPr algn="ctr"/>
            <a:r>
              <a:rPr lang="ru-RU" sz="1600" cap="all" dirty="0" smtClean="0">
                <a:ln/>
                <a:solidFill>
                  <a:srgbClr val="7030A0"/>
                </a:solidFill>
                <a:effectLst/>
              </a:rPr>
              <a:t>Муниципальная программа «Управление муниципальными финансами в муниципальном образовании «Тайшетский район» на 2014 – 2019 годы</a:t>
            </a:r>
            <a:endParaRPr lang="ru-RU" sz="1600" dirty="0">
              <a:solidFill>
                <a:srgbClr val="7030A0"/>
              </a:solidFill>
              <a:effectLst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28600" y="1143000"/>
            <a:ext cx="5638800" cy="83099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latin typeface="Palatino Linotype" pitchFamily="18" charset="0"/>
              </a:rPr>
              <a:t>Цели программы – обеспечение сбалансированности и устойчивости бюджета муниципального образования «Тайшетский район» в среднесрочной перспективе, эффективное управление муниципальными финансами </a:t>
            </a:r>
            <a:endParaRPr lang="ru-RU" sz="1200" b="1" dirty="0" smtClean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Palatino Linotype" pitchFamily="18" charset="0"/>
            </a:endParaRPr>
          </a:p>
        </p:txBody>
      </p:sp>
      <p:sp>
        <p:nvSpPr>
          <p:cNvPr id="6" name="Содержимое 2"/>
          <p:cNvSpPr txBox="1">
            <a:spLocks/>
          </p:cNvSpPr>
          <p:nvPr/>
        </p:nvSpPr>
        <p:spPr>
          <a:xfrm>
            <a:off x="152400" y="2362200"/>
            <a:ext cx="6553200" cy="1219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>
            <a:normAutofit lnSpcReduction="10000"/>
          </a:bodyPr>
          <a:lstStyle/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Для достижения цели Программы определены следующие задачи: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овышение эффективности бюджетных расходов муниципального образования «Тайшетский район»</a:t>
            </a:r>
            <a:r>
              <a:rPr kumimoji="0" lang="ru-RU" sz="12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овышение качества управления муниципальными финансами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овышение устойчивости</a:t>
            </a:r>
            <a:r>
              <a:rPr kumimoji="0" lang="ru-RU" sz="12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муниципальных образований, находящихся на территории Тайшетского района.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0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pic>
        <p:nvPicPr>
          <p:cNvPr id="3074" name="Picture 2" descr="C:\Users\finupr\Desktop\buget-nou1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58000" y="2057400"/>
            <a:ext cx="2133600" cy="1524000"/>
          </a:xfrm>
          <a:prstGeom prst="rect">
            <a:avLst/>
          </a:prstGeom>
          <a:noFill/>
        </p:spPr>
      </p:pic>
      <p:sp>
        <p:nvSpPr>
          <p:cNvPr id="12" name="Заголовок 1"/>
          <p:cNvSpPr txBox="1">
            <a:spLocks/>
          </p:cNvSpPr>
          <p:nvPr/>
        </p:nvSpPr>
        <p:spPr>
          <a:xfrm>
            <a:off x="2743200" y="3810000"/>
            <a:ext cx="6172200" cy="7620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Финансовое обеспечение реализации муниципальной программы </a:t>
            </a:r>
            <a:r>
              <a:rPr lang="ru-RU" sz="1200" cap="all" dirty="0" smtClean="0">
                <a:ln/>
                <a:solidFill>
                  <a:srgbClr val="7030A0"/>
                </a:solidFill>
                <a:latin typeface="+mj-lt"/>
              </a:rPr>
              <a:t>«Управление муниципальными финансами в муниципальном образовании «Тайшетский район»</a:t>
            </a:r>
            <a:r>
              <a:rPr kumimoji="0" lang="ru-RU" sz="120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за 2017 год</a:t>
            </a:r>
            <a:endParaRPr kumimoji="0" lang="ru-RU" sz="12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14" name="Содержимое 17"/>
          <p:cNvGraphicFramePr>
            <a:graphicFrameLocks/>
          </p:cNvGraphicFramePr>
          <p:nvPr/>
        </p:nvGraphicFramePr>
        <p:xfrm>
          <a:off x="2743200" y="4952999"/>
          <a:ext cx="6248400" cy="1535262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562100"/>
                <a:gridCol w="1562100"/>
                <a:gridCol w="1562100"/>
                <a:gridCol w="1562100"/>
              </a:tblGrid>
              <a:tr h="304801"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План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Факт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Исполнение, %</a:t>
                      </a:r>
                      <a:endParaRPr lang="ru-RU" sz="1400" dirty="0"/>
                    </a:p>
                  </a:txBody>
                  <a:tcPr/>
                </a:tc>
              </a:tr>
              <a:tr h="401343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Всего</a:t>
                      </a:r>
                      <a:r>
                        <a:rPr lang="ru-RU" sz="1200" baseline="0" dirty="0" smtClean="0"/>
                        <a:t> расходов</a:t>
                      </a:r>
                      <a:endParaRPr lang="ru-RU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56 534,8</a:t>
                      </a:r>
                      <a:endParaRPr lang="ru-RU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51 153,5</a:t>
                      </a:r>
                      <a:endParaRPr lang="ru-RU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96,6</a:t>
                      </a:r>
                      <a:endParaRPr lang="ru-RU" sz="1200" b="1" dirty="0"/>
                    </a:p>
                  </a:txBody>
                  <a:tcPr/>
                </a:tc>
              </a:tr>
              <a:tr h="401343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Районный бюджет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48 825,8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43 535,4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96,5</a:t>
                      </a:r>
                      <a:endParaRPr lang="ru-RU" sz="1200" dirty="0"/>
                    </a:p>
                  </a:txBody>
                  <a:tcPr/>
                </a:tc>
              </a:tr>
              <a:tr h="427775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Бюджеты поселений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7 709,0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7 617,8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98,8</a:t>
                      </a:r>
                      <a:endParaRPr lang="ru-RU" sz="12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7" name="Заголовок 1"/>
          <p:cNvSpPr txBox="1">
            <a:spLocks/>
          </p:cNvSpPr>
          <p:nvPr/>
        </p:nvSpPr>
        <p:spPr>
          <a:xfrm>
            <a:off x="7543800" y="4648200"/>
            <a:ext cx="1371600" cy="2286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Тыс. рублей</a:t>
            </a:r>
            <a:endParaRPr kumimoji="0" lang="ru-RU" sz="8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6248400" y="1143000"/>
            <a:ext cx="2590800" cy="762000"/>
          </a:xfrm>
          <a:prstGeom prst="roundRect">
            <a:avLst/>
          </a:prstGeom>
          <a:solidFill>
            <a:srgbClr val="FFFF99"/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latin typeface="Palatino Linotype" pitchFamily="18" charset="0"/>
              </a:rPr>
              <a:t>Ответственный исполнитель Программы – Финансовое управление администрации Тайшетского района</a:t>
            </a:r>
            <a:endParaRPr lang="ru-RU" sz="1000" b="1" dirty="0" smtClean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Palatino Linotype" pitchFamily="18" charset="0"/>
            </a:endParaRPr>
          </a:p>
        </p:txBody>
      </p:sp>
      <p:pic>
        <p:nvPicPr>
          <p:cNvPr id="3" name="Picture 2" descr="C:\Documents and Settings\Admin\Рабочий стол\3025915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57200" y="3962400"/>
            <a:ext cx="1828800" cy="22098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3" name="Заголовок 1"/>
          <p:cNvSpPr txBox="1">
            <a:spLocks/>
          </p:cNvSpPr>
          <p:nvPr/>
        </p:nvSpPr>
        <p:spPr>
          <a:xfrm>
            <a:off x="1295400" y="152400"/>
            <a:ext cx="7620000" cy="4572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Финансовое обеспечение реализации муниципальной программы </a:t>
            </a:r>
            <a:r>
              <a:rPr lang="ru-RU" sz="1200" cap="all" dirty="0" smtClean="0">
                <a:ln/>
                <a:solidFill>
                  <a:srgbClr val="7030A0"/>
                </a:solidFill>
                <a:latin typeface="+mj-lt"/>
              </a:rPr>
              <a:t>«Управление муниципальными финансами в муниципальном образовании «Тайшетский район»</a:t>
            </a:r>
            <a:r>
              <a:rPr kumimoji="0" lang="ru-RU" sz="120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за 2017 год</a:t>
            </a:r>
            <a:endParaRPr kumimoji="0" lang="ru-RU" sz="12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4" name="Содержимое 3"/>
          <p:cNvGraphicFramePr>
            <a:graphicFrameLocks/>
          </p:cNvGraphicFramePr>
          <p:nvPr/>
        </p:nvGraphicFramePr>
        <p:xfrm>
          <a:off x="1066800" y="838200"/>
          <a:ext cx="7924800" cy="2590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Заголовок 1"/>
          <p:cNvSpPr txBox="1">
            <a:spLocks/>
          </p:cNvSpPr>
          <p:nvPr/>
        </p:nvSpPr>
        <p:spPr>
          <a:xfrm>
            <a:off x="228600" y="3733800"/>
            <a:ext cx="8839200" cy="5334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реализация муниципальной программы </a:t>
            </a:r>
            <a:r>
              <a:rPr lang="ru-RU" sz="1200" cap="all" dirty="0" smtClean="0">
                <a:ln/>
                <a:solidFill>
                  <a:srgbClr val="7030A0"/>
                </a:solidFill>
                <a:latin typeface="+mj-lt"/>
              </a:rPr>
              <a:t>«Управление муниципальными финансами в муниципальном образовании «Тайшетский район»</a:t>
            </a:r>
            <a:r>
              <a:rPr kumimoji="0" lang="ru-RU" sz="120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за 2017 год</a:t>
            </a:r>
            <a:endParaRPr kumimoji="0" lang="ru-RU" sz="12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14" name="Содержимое 3"/>
          <p:cNvGraphicFramePr>
            <a:graphicFrameLocks/>
          </p:cNvGraphicFramePr>
          <p:nvPr/>
        </p:nvGraphicFramePr>
        <p:xfrm>
          <a:off x="304800" y="4387540"/>
          <a:ext cx="8686800" cy="187589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5562600"/>
                <a:gridCol w="762000"/>
                <a:gridCol w="990600"/>
                <a:gridCol w="609600"/>
                <a:gridCol w="762000"/>
              </a:tblGrid>
              <a:tr h="441928">
                <a:tc>
                  <a:txBody>
                    <a:bodyPr/>
                    <a:lstStyle/>
                    <a:p>
                      <a:pPr algn="ctr"/>
                      <a:r>
                        <a:rPr kumimoji="0" lang="ru-RU" sz="1200" kern="1200" dirty="0" smtClean="0"/>
                        <a:t>Основные</a:t>
                      </a:r>
                      <a:r>
                        <a:rPr kumimoji="0" lang="ru-RU" sz="1200" kern="1200" baseline="0" dirty="0" smtClean="0"/>
                        <a:t> </a:t>
                      </a:r>
                      <a:r>
                        <a:rPr kumimoji="0" lang="ru-RU" sz="1200" kern="1200" dirty="0" smtClean="0"/>
                        <a:t>целевые</a:t>
                      </a:r>
                      <a:r>
                        <a:rPr kumimoji="0" lang="ru-RU" sz="1200" kern="1200" baseline="0" dirty="0" smtClean="0"/>
                        <a:t> </a:t>
                      </a:r>
                      <a:r>
                        <a:rPr kumimoji="0" lang="ru-RU" sz="1200" kern="1200" dirty="0" smtClean="0"/>
                        <a:t>показатели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ru-RU" sz="1200" kern="1200" dirty="0" smtClean="0"/>
                        <a:t>Ед. </a:t>
                      </a:r>
                      <a:r>
                        <a:rPr kumimoji="0" lang="ru-RU" sz="1200" kern="1200" dirty="0" err="1" smtClean="0"/>
                        <a:t>изм</a:t>
                      </a:r>
                      <a:r>
                        <a:rPr kumimoji="0" lang="ru-RU" sz="1200" kern="1200" dirty="0" smtClean="0"/>
                        <a:t>.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6 (факт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7 (план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7 (факт)</a:t>
                      </a:r>
                      <a:endParaRPr lang="ru-RU" sz="1200" dirty="0"/>
                    </a:p>
                  </a:txBody>
                  <a:tcPr/>
                </a:tc>
              </a:tr>
              <a:tr h="353338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Динамика  налоговых и неналоговых доходов районного бюджета</a:t>
                      </a: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%</a:t>
                      </a: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07,7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05,5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13,6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</a:tr>
              <a:tr h="353542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Отсутствие просроченной кредиторской задолженности по оплате труда (включая начисления на оплату труда) муниципальных учреждений</a:t>
                      </a: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%</a:t>
                      </a: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0,0</a:t>
                      </a: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0,0</a:t>
                      </a: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0,0</a:t>
                      </a:r>
                    </a:p>
                  </a:txBody>
                  <a:tcPr marL="47625" marR="47625" marT="0" marB="0" anchor="ctr"/>
                </a:tc>
              </a:tr>
              <a:tr h="333832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Формирование районного бюджета программно-целевым методом</a:t>
                      </a: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%</a:t>
                      </a: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93,5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90,0</a:t>
                      </a: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98,4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</a:tr>
              <a:tr h="361189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Отсутствие просроченной задолженности по долговым обязательствам муниципального района</a:t>
                      </a: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Тыс. руб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62 546,7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0,0</a:t>
                      </a: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7 168,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</a:tr>
            </a:tbl>
          </a:graphicData>
        </a:graphic>
      </p:graphicFrame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>
            <a:spLocks/>
          </p:cNvSpPr>
          <p:nvPr/>
        </p:nvSpPr>
        <p:spPr>
          <a:xfrm>
            <a:off x="1143000" y="228600"/>
            <a:ext cx="7924800" cy="5334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реализация муниципальной программы </a:t>
            </a:r>
            <a:r>
              <a:rPr lang="ru-RU" sz="1200" cap="all" dirty="0" smtClean="0">
                <a:ln/>
                <a:solidFill>
                  <a:srgbClr val="7030A0"/>
                </a:solidFill>
                <a:latin typeface="+mj-lt"/>
              </a:rPr>
              <a:t>«Управление муниципальными финансами в муниципальном образовании «Тайшетский район»</a:t>
            </a:r>
            <a:r>
              <a:rPr kumimoji="0" lang="ru-RU" sz="120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за 2017 год</a:t>
            </a:r>
            <a:endParaRPr kumimoji="0" lang="ru-RU" sz="12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3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4" name="Содержимое 2"/>
          <p:cNvSpPr txBox="1">
            <a:spLocks/>
          </p:cNvSpPr>
          <p:nvPr/>
        </p:nvSpPr>
        <p:spPr>
          <a:xfrm>
            <a:off x="304800" y="1066800"/>
            <a:ext cx="6096000" cy="762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>
            <a:noAutofit/>
          </a:bodyPr>
          <a:lstStyle/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05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В 2017 году проведены мероприятия по увеличению доходной базы бюджета муниципального образования «Тайшетский район»  в соответствии утвержденным комплексным планом мероприятий по увеличению доходной базы бюджета. В 2017 г. в районный бюджет дополнительно получено </a:t>
            </a:r>
            <a:r>
              <a:rPr lang="ru-RU" sz="1050" b="1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13,3</a:t>
            </a:r>
            <a:r>
              <a:rPr lang="ru-RU" sz="105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млн. рублей. </a:t>
            </a:r>
            <a:endParaRPr lang="ru-RU" sz="105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Содержимое 2"/>
          <p:cNvSpPr txBox="1">
            <a:spLocks/>
          </p:cNvSpPr>
          <p:nvPr/>
        </p:nvSpPr>
        <p:spPr>
          <a:xfrm>
            <a:off x="228600" y="3124200"/>
            <a:ext cx="3124200" cy="35814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>
            <a:noAutofit/>
          </a:bodyPr>
          <a:lstStyle/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100" b="1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В рамках организации бюджетного процесса </a:t>
            </a: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осуществлено 6  уточнений районного бюджета в течение 2017 года, 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составлен проект  решения  о районном бюджете на 2018 год и на плановый период 2019 и 2020 годов, составлена годовая бюджетная отчетность по исполнению бюджета муниципального образования «Тайшетский район» за 2016 год, осуществлен внутренний муниципальный финансовый контроль в соответствии с утвержденным планом контрольных мероприятий на 2017 год проведено 15 проверок, в том числе 6 проверок в сфере закупок.</a:t>
            </a:r>
          </a:p>
          <a:p>
            <a:pPr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100" b="1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В целях повышения прозрачности и открытости бюджетного процесса</a:t>
            </a: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в муниципальном образовании «Тайшетский район» на официальном сайте Администрации Тайшетского района в разделе «Муниципальные финансы» размещена информация, освещающая основные вопросы по составлению и исполнению бюджета.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endParaRPr lang="ru-RU" sz="1200" dirty="0" smtClean="0">
              <a:solidFill>
                <a:schemeClr val="tx1"/>
              </a:solidFill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Содержимое 2"/>
          <p:cNvSpPr txBox="1">
            <a:spLocks/>
          </p:cNvSpPr>
          <p:nvPr/>
        </p:nvSpPr>
        <p:spPr>
          <a:xfrm>
            <a:off x="304800" y="1981200"/>
            <a:ext cx="6096000" cy="8382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>
            <a:noAutofit/>
          </a:bodyPr>
          <a:lstStyle/>
          <a:p>
            <a:pPr lvl="0" indent="2520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Полномочия  по формированию и исполнению бюджетов поселений исполнены в полном объеме в соответствии с заключенными </a:t>
            </a:r>
            <a:r>
              <a:rPr lang="ru-RU" sz="1100" b="1" dirty="0" smtClean="0">
                <a:latin typeface="Times New Roman" pitchFamily="18" charset="0"/>
                <a:cs typeface="Times New Roman" pitchFamily="18" charset="0"/>
              </a:rPr>
              <a:t>24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 соглашениями с муниципальными образованиями о передаче осуществления части полномочий за счет переданных межбюджетных трансфертов в сумме </a:t>
            </a:r>
            <a:r>
              <a:rPr lang="ru-RU" sz="1100" b="1" dirty="0" smtClean="0">
                <a:latin typeface="Times New Roman" pitchFamily="18" charset="0"/>
                <a:cs typeface="Times New Roman" pitchFamily="18" charset="0"/>
              </a:rPr>
              <a:t>7 617,8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тыс. рублей.</a:t>
            </a:r>
            <a:endParaRPr lang="ru-RU" sz="1100" dirty="0" smtClean="0">
              <a:solidFill>
                <a:schemeClr val="tx1"/>
              </a:solidFill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Содержимое 2"/>
          <p:cNvSpPr txBox="1">
            <a:spLocks/>
          </p:cNvSpPr>
          <p:nvPr/>
        </p:nvSpPr>
        <p:spPr>
          <a:xfrm>
            <a:off x="3657600" y="5410200"/>
            <a:ext cx="5257800" cy="12192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>
            <a:noAutofit/>
          </a:bodyPr>
          <a:lstStyle/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За 2017 году принятые долговые обязательства по возврату бюджетных кредитов исполнены в сумме </a:t>
            </a:r>
            <a:r>
              <a:rPr lang="ru-RU" sz="1100" b="1" dirty="0" smtClean="0">
                <a:latin typeface="Times New Roman" pitchFamily="18" charset="0"/>
                <a:cs typeface="Times New Roman" pitchFamily="18" charset="0"/>
              </a:rPr>
              <a:t>70 008,4 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тыс. рублей.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Объем муниципального долга снижен в 7 раз и к концу 2017 года составил 2,3 % (11 122,0 тыс. рублей) от 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объема доходов бюджета без учета объема безвозмездных поступлений и (или) поступлений налоговых доходов по дополнительным нормативам отчислений;</a:t>
            </a:r>
            <a:endParaRPr lang="ru-RU" sz="1100" dirty="0" smtClean="0">
              <a:solidFill>
                <a:schemeClr val="tx1"/>
              </a:solidFill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tabLst>
                <a:tab pos="3060700" algn="ctr"/>
              </a:tabLst>
            </a:pPr>
            <a:endParaRPr lang="ru-RU" sz="1100" dirty="0" smtClean="0">
              <a:solidFill>
                <a:schemeClr val="tx1"/>
              </a:solidFill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Содержимое 2"/>
          <p:cNvSpPr txBox="1">
            <a:spLocks/>
          </p:cNvSpPr>
          <p:nvPr/>
        </p:nvSpPr>
        <p:spPr>
          <a:xfrm>
            <a:off x="5715000" y="3200400"/>
            <a:ext cx="3124200" cy="19812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>
            <a:noAutofit/>
          </a:bodyPr>
          <a:lstStyle/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В 2017 году </a:t>
            </a:r>
            <a:r>
              <a:rPr lang="ru-RU" sz="1100" b="1" dirty="0" smtClean="0">
                <a:latin typeface="Times New Roman" pitchFamily="18" charset="0"/>
                <a:cs typeface="Times New Roman" pitchFamily="18" charset="0"/>
              </a:rPr>
              <a:t>27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 муниципальным образованиям района предоставлены межбюджетные трансферты в форме: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 дотации на выравнивание бюджетной обеспеченности  поселений из районного фонда финансовой поддержки поселений в сумме       </a:t>
            </a:r>
            <a:r>
              <a:rPr lang="ru-RU" sz="1100" b="1" dirty="0" smtClean="0">
                <a:latin typeface="Times New Roman" pitchFamily="18" charset="0"/>
                <a:cs typeface="Times New Roman" pitchFamily="18" charset="0"/>
              </a:rPr>
              <a:t>96 316,2 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тыс. рублей.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Дотаций на поддержку мер по обеспечению сбалансированности бюджетов поселений в сумме </a:t>
            </a:r>
            <a:r>
              <a:rPr lang="ru-RU" sz="1100" b="1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30 281,4 </a:t>
            </a: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тыс. рублей.</a:t>
            </a:r>
          </a:p>
        </p:txBody>
      </p:sp>
      <p:pic>
        <p:nvPicPr>
          <p:cNvPr id="4098" name="Picture 2" descr="C:\Documents and Settings\Admin\Рабочий стол\1500x500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629400" y="990600"/>
            <a:ext cx="2209800" cy="2133600"/>
          </a:xfrm>
          <a:prstGeom prst="rect">
            <a:avLst/>
          </a:prstGeom>
          <a:noFill/>
        </p:spPr>
      </p:pic>
      <p:pic>
        <p:nvPicPr>
          <p:cNvPr id="4100" name="Picture 4" descr="C:\Documents and Settings\Admin\Рабочий стол\tax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581400" y="3124200"/>
            <a:ext cx="2057400" cy="20574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1066800" y="228600"/>
            <a:ext cx="7772400" cy="457200"/>
          </a:xfrm>
          <a:solidFill>
            <a:schemeClr val="lt1"/>
          </a:solidFill>
          <a:ln>
            <a:solidFill>
              <a:schemeClr val="accent6"/>
            </a:solidFill>
          </a:ln>
        </p:spPr>
        <p:txBody>
          <a:bodyPr anchor="ctr" anchorCtr="1">
            <a:normAutofit fontScale="90000"/>
          </a:bodyPr>
          <a:lstStyle/>
          <a:p>
            <a:pPr algn="ctr"/>
            <a:r>
              <a:rPr lang="ru-RU" sz="1600" cap="all" dirty="0" smtClean="0">
                <a:ln/>
                <a:solidFill>
                  <a:srgbClr val="7030A0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>Муниципальная программа «Стимулирование экономической активности»                   на 2015– 2018 годы</a:t>
            </a:r>
            <a:endParaRPr lang="ru-RU" sz="1600" dirty="0">
              <a:solidFill>
                <a:srgbClr val="7030A0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</a:effectLst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85800" y="990600"/>
            <a:ext cx="4191000" cy="46166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latin typeface="Palatino Linotype" pitchFamily="18" charset="0"/>
              </a:rPr>
              <a:t>Цель программы – развитие экономического потенциала Тайшетского района</a:t>
            </a:r>
            <a:endParaRPr lang="ru-RU" sz="1200" b="1" dirty="0" smtClean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Palatino Linotype" pitchFamily="18" charset="0"/>
            </a:endParaRPr>
          </a:p>
        </p:txBody>
      </p:sp>
      <p:sp>
        <p:nvSpPr>
          <p:cNvPr id="7" name="Содержимое 2"/>
          <p:cNvSpPr txBox="1">
            <a:spLocks/>
          </p:cNvSpPr>
          <p:nvPr/>
        </p:nvSpPr>
        <p:spPr>
          <a:xfrm>
            <a:off x="152400" y="1752600"/>
            <a:ext cx="4343400" cy="1600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>
            <a:normAutofit fontScale="92500" lnSpcReduction="10000"/>
          </a:bodyPr>
          <a:lstStyle/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Для достижения цели Программы определены следующие задачи: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овышение инвестиционной привлекательности Тайшетского района</a:t>
            </a:r>
            <a:r>
              <a:rPr kumimoji="0" lang="ru-RU" sz="12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Создание благоприятных условий для развития субъектов малого и среднего предпринимательства на территории Тайшетского района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lang="ru-RU" sz="1200" dirty="0" smtClean="0"/>
              <a:t>Формирование конкурентности туристского продукта и рациональное использования туристских ресурсов Тайшетского района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8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"/>
            <a:ext cx="914399" cy="1066800"/>
          </a:xfrm>
          <a:prstGeom prst="rect">
            <a:avLst/>
          </a:prstGeom>
          <a:noFill/>
        </p:spPr>
      </p:pic>
      <p:sp>
        <p:nvSpPr>
          <p:cNvPr id="11" name="Заголовок 1"/>
          <p:cNvSpPr txBox="1">
            <a:spLocks/>
          </p:cNvSpPr>
          <p:nvPr/>
        </p:nvSpPr>
        <p:spPr>
          <a:xfrm>
            <a:off x="4572000" y="1600200"/>
            <a:ext cx="4419600" cy="5334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Финансовое обеспечение реализации муниципальной программы</a:t>
            </a:r>
            <a:r>
              <a:rPr kumimoji="0" lang="ru-RU" sz="1200" b="0" i="0" u="none" strike="noStrike" kern="1200" cap="all" spc="0" normalizeH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«стимулирование экономической активности» </a:t>
            </a: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за 2017 год</a:t>
            </a:r>
            <a:endParaRPr kumimoji="0" lang="ru-RU" sz="12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8077200" y="2133600"/>
            <a:ext cx="838200" cy="2286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Тыс. рублей</a:t>
            </a:r>
            <a:endParaRPr kumimoji="0" lang="ru-RU" sz="8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10" name="Содержимое 17"/>
          <p:cNvGraphicFramePr>
            <a:graphicFrameLocks/>
          </p:cNvGraphicFramePr>
          <p:nvPr/>
        </p:nvGraphicFramePr>
        <p:xfrm>
          <a:off x="4648200" y="2362200"/>
          <a:ext cx="4343400" cy="91440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421475"/>
                <a:gridCol w="868680"/>
                <a:gridCol w="868680"/>
                <a:gridCol w="1184565"/>
              </a:tblGrid>
              <a:tr h="281354"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План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Факт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Исполнение, %</a:t>
                      </a:r>
                      <a:endParaRPr lang="ru-RU" sz="1000" dirty="0"/>
                    </a:p>
                  </a:txBody>
                  <a:tcPr/>
                </a:tc>
              </a:tr>
              <a:tr h="31652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Всего</a:t>
                      </a:r>
                      <a:r>
                        <a:rPr lang="ru-RU" sz="1200" baseline="0" dirty="0" smtClean="0"/>
                        <a:t> расходов</a:t>
                      </a:r>
                      <a:endParaRPr lang="ru-RU" sz="12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/>
                        <a:t>114,6</a:t>
                      </a:r>
                      <a:endParaRPr lang="ru-RU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/>
                        <a:t>114,6</a:t>
                      </a:r>
                      <a:endParaRPr lang="ru-RU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/>
                        <a:t>100,0</a:t>
                      </a:r>
                      <a:endParaRPr lang="ru-RU" sz="1200" b="0" dirty="0"/>
                    </a:p>
                  </a:txBody>
                  <a:tcPr/>
                </a:tc>
              </a:tr>
              <a:tr h="316523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Районный бюджет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14,6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14,6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00,0</a:t>
                      </a:r>
                      <a:endParaRPr lang="ru-RU" sz="12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2" name="Заголовок 1"/>
          <p:cNvSpPr txBox="1">
            <a:spLocks/>
          </p:cNvSpPr>
          <p:nvPr/>
        </p:nvSpPr>
        <p:spPr>
          <a:xfrm>
            <a:off x="152400" y="3429000"/>
            <a:ext cx="8839200" cy="3810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реализация муниципальной программы</a:t>
            </a:r>
            <a:r>
              <a:rPr kumimoji="0" lang="ru-RU" sz="1200" b="0" i="0" u="none" strike="noStrike" kern="1200" cap="all" spc="0" normalizeH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«стимулирование экономической активности» </a:t>
            </a: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за 2017 год</a:t>
            </a:r>
            <a:endParaRPr kumimoji="0" lang="ru-RU" sz="12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13" name="Содержимое 3"/>
          <p:cNvGraphicFramePr>
            <a:graphicFrameLocks/>
          </p:cNvGraphicFramePr>
          <p:nvPr/>
        </p:nvGraphicFramePr>
        <p:xfrm>
          <a:off x="2438400" y="3810000"/>
          <a:ext cx="6324600" cy="2819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Скругленный прямоугольник 13"/>
          <p:cNvSpPr/>
          <p:nvPr/>
        </p:nvSpPr>
        <p:spPr>
          <a:xfrm>
            <a:off x="5867400" y="914400"/>
            <a:ext cx="2971800" cy="609600"/>
          </a:xfrm>
          <a:prstGeom prst="roundRect">
            <a:avLst/>
          </a:prstGeom>
          <a:solidFill>
            <a:srgbClr val="FFFF99"/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latin typeface="Palatino Linotype" pitchFamily="18" charset="0"/>
              </a:rPr>
              <a:t>Ответственный исполнитель Программы – Администрация Тайшетского района</a:t>
            </a:r>
            <a:endParaRPr lang="ru-RU" sz="1000" b="1" dirty="0" smtClean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Palatino Linotype" pitchFamily="18" charset="0"/>
            </a:endParaRPr>
          </a:p>
        </p:txBody>
      </p:sp>
      <p:pic>
        <p:nvPicPr>
          <p:cNvPr id="5122" name="Picture 2" descr="C:\Documents and Settings\Admin\Рабочий стол\bigstock-businessman-with-financial-sym-46914868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57200" y="4191000"/>
            <a:ext cx="2057400" cy="19812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"/>
            <a:ext cx="914399" cy="1066800"/>
          </a:xfrm>
          <a:prstGeom prst="rect">
            <a:avLst/>
          </a:prstGeom>
          <a:noFill/>
        </p:spPr>
      </p:pic>
      <p:sp>
        <p:nvSpPr>
          <p:cNvPr id="3" name="Заголовок 1"/>
          <p:cNvSpPr txBox="1">
            <a:spLocks/>
          </p:cNvSpPr>
          <p:nvPr/>
        </p:nvSpPr>
        <p:spPr>
          <a:xfrm>
            <a:off x="1371600" y="304800"/>
            <a:ext cx="7391400" cy="4572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ru-RU" sz="1200" cap="all" dirty="0" smtClean="0">
                <a:solidFill>
                  <a:srgbClr val="7030A0"/>
                </a:solidFill>
                <a:latin typeface="+mj-lt"/>
              </a:rPr>
              <a:t>реализация муниципальной программы «стимулирование экономической активности»            за 2017 год</a:t>
            </a:r>
            <a:endParaRPr lang="ru-RU" sz="1200" cap="all" dirty="0">
              <a:solidFill>
                <a:srgbClr val="7030A0"/>
              </a:solidFill>
              <a:latin typeface="+mj-lt"/>
            </a:endParaRPr>
          </a:p>
        </p:txBody>
      </p:sp>
      <p:pic>
        <p:nvPicPr>
          <p:cNvPr id="5" name="Picture 2" descr="http://www.727373-info.ru/files/1/800/3098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086600" y="3962400"/>
            <a:ext cx="1828800" cy="2438400"/>
          </a:xfrm>
          <a:prstGeom prst="rect">
            <a:avLst/>
          </a:prstGeom>
          <a:noFill/>
        </p:spPr>
      </p:pic>
      <p:graphicFrame>
        <p:nvGraphicFramePr>
          <p:cNvPr id="6" name="Содержимое 3"/>
          <p:cNvGraphicFramePr>
            <a:graphicFrameLocks/>
          </p:cNvGraphicFramePr>
          <p:nvPr/>
        </p:nvGraphicFramePr>
        <p:xfrm>
          <a:off x="228600" y="990601"/>
          <a:ext cx="8763000" cy="2133599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6096000"/>
                <a:gridCol w="533400"/>
                <a:gridCol w="685800"/>
                <a:gridCol w="685800"/>
                <a:gridCol w="762000"/>
              </a:tblGrid>
              <a:tr h="464533">
                <a:tc>
                  <a:txBody>
                    <a:bodyPr/>
                    <a:lstStyle/>
                    <a:p>
                      <a:pPr algn="ctr"/>
                      <a:r>
                        <a:rPr kumimoji="0" lang="ru-RU" sz="1200" kern="1200" dirty="0" smtClean="0"/>
                        <a:t>Основные</a:t>
                      </a:r>
                      <a:r>
                        <a:rPr kumimoji="0" lang="ru-RU" sz="1200" kern="1200" baseline="0" dirty="0" smtClean="0"/>
                        <a:t> </a:t>
                      </a:r>
                      <a:r>
                        <a:rPr kumimoji="0" lang="ru-RU" sz="1200" kern="1200" dirty="0" smtClean="0"/>
                        <a:t>целевые</a:t>
                      </a:r>
                      <a:r>
                        <a:rPr kumimoji="0" lang="ru-RU" sz="1200" kern="1200" baseline="0" dirty="0" smtClean="0"/>
                        <a:t> </a:t>
                      </a:r>
                      <a:r>
                        <a:rPr kumimoji="0" lang="ru-RU" sz="1200" kern="1200" dirty="0" smtClean="0"/>
                        <a:t>показатели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ru-RU" sz="1200" kern="1200" dirty="0" smtClean="0"/>
                        <a:t>Ед. </a:t>
                      </a:r>
                      <a:r>
                        <a:rPr kumimoji="0" lang="ru-RU" sz="1200" kern="1200" dirty="0" err="1" smtClean="0"/>
                        <a:t>изм</a:t>
                      </a:r>
                      <a:r>
                        <a:rPr kumimoji="0" lang="ru-RU" sz="1200" kern="1200" dirty="0" smtClean="0"/>
                        <a:t>.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6 (факт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7 (план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7 (факт)</a:t>
                      </a:r>
                      <a:endParaRPr lang="ru-RU" sz="1200" dirty="0"/>
                    </a:p>
                  </a:txBody>
                  <a:tcPr/>
                </a:tc>
              </a:tr>
              <a:tr h="371626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Объем инвестиций в основной капитал из всех источников в расчете на одного жителя Тайшетского района;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тыс. руб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68,8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47,8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63,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</a:tr>
              <a:tr h="38397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Times New Roman"/>
                          <a:cs typeface="Times New Roman"/>
                        </a:rPr>
                        <a:t>Количество субъектов малого и среднего предпринимательства в расчете на 10 тысяч человек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ед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217,9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219,8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224,3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</a:tr>
              <a:tr h="533807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Величина налоговых поступлений по специальным режимам налогообложения от субъектов малого и среднего предпринимательства  в районный бюджет;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тыс. руб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44 564,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44 219,5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61 093,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</a:tr>
              <a:tr h="37966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 разработанных и внедренных туристических продуктов (маршруты, программы)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ед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</a:tr>
            </a:tbl>
          </a:graphicData>
        </a:graphic>
      </p:graphicFrame>
      <p:sp>
        <p:nvSpPr>
          <p:cNvPr id="7" name="Содержимое 2"/>
          <p:cNvSpPr txBox="1">
            <a:spLocks/>
          </p:cNvSpPr>
          <p:nvPr/>
        </p:nvSpPr>
        <p:spPr>
          <a:xfrm>
            <a:off x="228600" y="3276600"/>
            <a:ext cx="2895600" cy="3429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>
            <a:noAutofit/>
          </a:bodyPr>
          <a:lstStyle/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Подготовлен на русском и английском языках Инвестиционный паспорт Тайшетского района – комплексный информационный бюллетень, рассчитанный на потенциальных инвесторов и предпринимателей.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Актуализированы буклеты: «Свободные промышленные площадки МО «Тайшетский район», «Инвестиционный потенциал Тайшетского района»,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Разработан буклет «Справочник инвестора», содержащий информацию о преимуществах территории Тайшетского района, условиях, созданных для ведения инвестиционной деятельности, справочную информацию, технические стандарты, туристско-рекреационный потенциал Тайшетского района.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endParaRPr lang="ru-RU" sz="1100" dirty="0" smtClean="0">
              <a:solidFill>
                <a:schemeClr val="tx1"/>
              </a:solidFill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Содержимое 2"/>
          <p:cNvSpPr txBox="1">
            <a:spLocks/>
          </p:cNvSpPr>
          <p:nvPr/>
        </p:nvSpPr>
        <p:spPr>
          <a:xfrm>
            <a:off x="5638800" y="3276600"/>
            <a:ext cx="3352800" cy="35814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>
            <a:noAutofit/>
          </a:bodyPr>
          <a:lstStyle/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В 2017 году проведено  2 совещания с работодателями, реализующими инвестиционные проекты на  территории МО «Тайшетский район» ООО «</a:t>
            </a:r>
            <a:r>
              <a:rPr lang="ru-RU" sz="1100" dirty="0" err="1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Русал</a:t>
            </a: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Анодная фабрика» и ООО </a:t>
            </a:r>
            <a:r>
              <a:rPr lang="ru-RU" sz="1100" dirty="0" err="1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Русал</a:t>
            </a: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Тайшет», ОАО «РЖД» </a:t>
            </a:r>
            <a:r>
              <a:rPr lang="ru-RU" sz="1100" dirty="0" err="1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Восточно-Сибирская</a:t>
            </a: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железная дорога, ООО «</a:t>
            </a:r>
            <a:r>
              <a:rPr lang="ru-RU" sz="1100" dirty="0" err="1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Тагул</a:t>
            </a: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» о возможности привлечения трудовых ресурсов Тайшетского района в рамках реализации инвестиционных проектов.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В рамках популяризации малого бизнеса организованы и проведены  3 смотра – конкурса.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Информационный материал, освещающий вопросы деятельности субъектов малого и среднего предпринимательства и органов власти в области поддержки предпринимателей размещен на сайте Администрации Тайшетского района. Информационная поддержка также осуществлялась через информационную программу «Время новостей», «Город в центре событий», Тайшетскую общественно-политическую газету «Бирюсинская новь».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endParaRPr lang="ru-RU" sz="1100" dirty="0" smtClean="0">
              <a:solidFill>
                <a:schemeClr val="tx1"/>
              </a:solidFill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</p:txBody>
      </p:sp>
      <p:pic>
        <p:nvPicPr>
          <p:cNvPr id="6146" name="Picture 2" descr="C:\Documents and Settings\Admin\Рабочий стол\img4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124200" y="3810000"/>
            <a:ext cx="2362200" cy="25146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228600"/>
            <a:ext cx="8001000" cy="762000"/>
          </a:xfrm>
          <a:solidFill>
            <a:schemeClr val="bg1"/>
          </a:solidFill>
          <a:ln>
            <a:solidFill>
              <a:srgbClr val="00B050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>
            <a:bevelT w="107950" h="38100"/>
          </a:sp3d>
        </p:spPr>
        <p:txBody>
          <a:bodyPr anchor="b" anchorCtr="0">
            <a:normAutofit fontScale="90000"/>
            <a:scene3d>
              <a:camera prst="orthographicFront"/>
              <a:lightRig rig="threePt" dir="t"/>
            </a:scene3d>
            <a:sp3d contourW="6350">
              <a:bevelT w="20320" h="20320" prst="angle"/>
              <a:contourClr>
                <a:schemeClr val="accent1">
                  <a:tint val="100000"/>
                  <a:shade val="100000"/>
                  <a:hueMod val="100000"/>
                  <a:satMod val="100000"/>
                </a:schemeClr>
              </a:contourClr>
            </a:sp3d>
          </a:bodyPr>
          <a:lstStyle/>
          <a:p>
            <a:pPr algn="ctr"/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/>
            </a:r>
            <a:b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</a:br>
            <a:r>
              <a:rPr lang="ru-RU" sz="2200" b="1" cap="all" dirty="0" smtClean="0">
                <a:ln/>
                <a:solidFill>
                  <a:schemeClr val="accent1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>                                                                                                                                                           </a:t>
            </a:r>
            <a:r>
              <a:rPr lang="ru-RU" sz="1800" cap="all" dirty="0" smtClean="0">
                <a:ln/>
                <a:solidFill>
                  <a:srgbClr val="7030A0"/>
                </a:solidFill>
                <a:effectLst/>
              </a:rPr>
              <a:t>Муниципальная программа  муниципального образования «Тайшетский район»«Развитие муниципальной системы образования»                                         на 2015 – 2019 годы</a:t>
            </a:r>
            <a:endParaRPr lang="ru-RU" sz="1600" cap="all" dirty="0">
              <a:ln/>
              <a:solidFill>
                <a:srgbClr val="7030A0"/>
              </a:solidFill>
              <a:effectLst/>
            </a:endParaRPr>
          </a:p>
        </p:txBody>
      </p:sp>
      <p:sp>
        <p:nvSpPr>
          <p:cNvPr id="14" name="Содержимое 2"/>
          <p:cNvSpPr>
            <a:spLocks noGrp="1"/>
          </p:cNvSpPr>
          <p:nvPr>
            <p:ph sz="half" idx="1"/>
          </p:nvPr>
        </p:nvSpPr>
        <p:spPr>
          <a:xfrm>
            <a:off x="152400" y="2057400"/>
            <a:ext cx="6172200" cy="2057400"/>
          </a:xfrm>
          <a:solidFill>
            <a:schemeClr val="accent6">
              <a:lumMod val="20000"/>
              <a:lumOff val="8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>
            <a:normAutofit fontScale="92500" lnSpcReduction="20000"/>
          </a:bodyPr>
          <a:lstStyle/>
          <a:p>
            <a:pPr algn="ctr">
              <a:buNone/>
            </a:pPr>
            <a:r>
              <a:rPr lang="ru-RU" sz="1200" dirty="0" smtClean="0"/>
              <a:t>Для достижения цели Программы определены следующие задачи: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200" dirty="0" smtClean="0"/>
              <a:t>Организация предоставления доступного и качественного образования в муниципальных дошкольных образовательных организациях;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200" dirty="0" smtClean="0"/>
              <a:t>Организация предоставления доступного и качественного общего образования в муниципальных образовательных организациях;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200" dirty="0" smtClean="0"/>
              <a:t>Организация предоставления доступного и качественного дополнительного образования детям;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200" dirty="0" smtClean="0"/>
              <a:t>Обеспечение организационных, информационных и финансово-экономических условий предоставления образования;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200" dirty="0" smtClean="0"/>
              <a:t>Организация отдыха и оздоровления детей в образовательных организациях муниципального образования «Тайшетский район» в каникулярное время;</a:t>
            </a:r>
          </a:p>
          <a:p>
            <a:pPr algn="just">
              <a:buFont typeface="Wingdings" pitchFamily="2" charset="2"/>
              <a:buChar char="Ø"/>
            </a:pPr>
            <a:r>
              <a:rPr lang="ru-RU" sz="1200" dirty="0" smtClean="0"/>
              <a:t>Увеличение количества зданий образовательных организаций и улучшение технического состояния зданий и сооружений образовательных организаций.</a:t>
            </a:r>
          </a:p>
          <a:p>
            <a:pPr algn="just">
              <a:buFont typeface="Wingdings" pitchFamily="2" charset="2"/>
              <a:buChar char="Ø"/>
            </a:pPr>
            <a:endParaRPr lang="ru-RU" sz="1200" dirty="0" smtClean="0"/>
          </a:p>
          <a:p>
            <a:pPr algn="just">
              <a:buFont typeface="Wingdings" pitchFamily="2" charset="2"/>
              <a:buChar char="Ø"/>
            </a:pPr>
            <a:endParaRPr lang="ru-RU" sz="1200" dirty="0" smtClean="0"/>
          </a:p>
          <a:p>
            <a:pPr>
              <a:buFont typeface="Wingdings" pitchFamily="2" charset="2"/>
              <a:buChar char="Ø"/>
            </a:pPr>
            <a:endParaRPr lang="ru-RU" sz="1200" dirty="0"/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457200" y="1143000"/>
            <a:ext cx="5562600" cy="8382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latin typeface="Palatino Linotype" pitchFamily="18" charset="0"/>
              </a:rPr>
              <a:t>Цель программы – обеспечение доступности современного качественного общего (дошкольного, начального общего, основного общего, среднего общего) и дополнительного образования</a:t>
            </a:r>
            <a:endParaRPr lang="ru-RU" sz="1400" b="1" dirty="0" smtClean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Palatino Linotype" pitchFamily="18" charset="0"/>
            </a:endParaRPr>
          </a:p>
        </p:txBody>
      </p:sp>
      <p:pic>
        <p:nvPicPr>
          <p:cNvPr id="15" name="Picture 2" descr="C:\Users\finupr\Desktop\gerb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2743200" y="4114800"/>
            <a:ext cx="6172200" cy="3810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Финансовое обеспечение реализации муниципальной программы «Развитие муниципальной системы образования» за 2017 год</a:t>
            </a:r>
            <a:endParaRPr kumimoji="0" lang="ru-RU" sz="12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9" name="Заголовок 1"/>
          <p:cNvSpPr txBox="1">
            <a:spLocks/>
          </p:cNvSpPr>
          <p:nvPr/>
        </p:nvSpPr>
        <p:spPr>
          <a:xfrm>
            <a:off x="7696200" y="4572000"/>
            <a:ext cx="1371600" cy="1524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Тыс. рублей</a:t>
            </a:r>
            <a:endParaRPr kumimoji="0" lang="ru-RU" sz="8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4100" name="Picture 4" descr="C:\Users\finupr\Desktop\den-uchitelya-v-2017-godu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477000" y="2133600"/>
            <a:ext cx="2286000" cy="1752600"/>
          </a:xfrm>
          <a:prstGeom prst="rect">
            <a:avLst/>
          </a:prstGeom>
          <a:noFill/>
        </p:spPr>
      </p:pic>
      <p:graphicFrame>
        <p:nvGraphicFramePr>
          <p:cNvPr id="13" name="Содержимое 17"/>
          <p:cNvGraphicFramePr>
            <a:graphicFrameLocks/>
          </p:cNvGraphicFramePr>
          <p:nvPr/>
        </p:nvGraphicFramePr>
        <p:xfrm>
          <a:off x="2743200" y="4876801"/>
          <a:ext cx="6248400" cy="1752598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362200"/>
                <a:gridCol w="1143000"/>
                <a:gridCol w="1181100"/>
                <a:gridCol w="1562100"/>
              </a:tblGrid>
              <a:tr h="312166"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План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Факт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Исполнение, %</a:t>
                      </a:r>
                      <a:endParaRPr lang="ru-RU" sz="1200" dirty="0"/>
                    </a:p>
                  </a:txBody>
                  <a:tcPr/>
                </a:tc>
              </a:tr>
              <a:tr h="28094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Всего расходов</a:t>
                      </a:r>
                      <a:endParaRPr lang="ru-RU" sz="12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 343 272,6</a:t>
                      </a:r>
                      <a:endParaRPr lang="ru-RU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 265 219,8</a:t>
                      </a:r>
                      <a:endParaRPr lang="ru-RU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94,2</a:t>
                      </a:r>
                      <a:endParaRPr lang="ru-RU" sz="1200" b="1" dirty="0"/>
                    </a:p>
                  </a:txBody>
                  <a:tcPr/>
                </a:tc>
              </a:tr>
              <a:tr h="316635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Областной бюджет, в том числе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 000 017,9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925 356,4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92,5</a:t>
                      </a:r>
                      <a:endParaRPr lang="ru-RU" sz="1200" dirty="0"/>
                    </a:p>
                  </a:txBody>
                  <a:tcPr/>
                </a:tc>
              </a:tr>
              <a:tr h="561899"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- Субвенции</a:t>
                      </a:r>
                      <a:r>
                        <a:rPr lang="ru-RU" sz="1000" baseline="0" dirty="0" smtClean="0"/>
                        <a:t> на предоставление гражданам общедоступного и бесплатного образования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899 794,8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883 333,6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98,2</a:t>
                      </a:r>
                      <a:endParaRPr lang="ru-RU" sz="1000" dirty="0"/>
                    </a:p>
                  </a:txBody>
                  <a:tcPr/>
                </a:tc>
              </a:tr>
              <a:tr h="280949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Районный бюджет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343 254,7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339 863,4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99,0</a:t>
                      </a:r>
                      <a:endParaRPr lang="ru-RU" sz="12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1" name="Скругленный прямоугольник 10"/>
          <p:cNvSpPr/>
          <p:nvPr/>
        </p:nvSpPr>
        <p:spPr>
          <a:xfrm>
            <a:off x="6096000" y="1143000"/>
            <a:ext cx="2743200" cy="762000"/>
          </a:xfrm>
          <a:prstGeom prst="roundRect">
            <a:avLst/>
          </a:prstGeom>
          <a:solidFill>
            <a:srgbClr val="FFFF99"/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latin typeface="Palatino Linotype" pitchFamily="18" charset="0"/>
              </a:rPr>
              <a:t>Ответственный исполнитель Программы – Управление образования администрации Тайшетского района</a:t>
            </a:r>
            <a:endParaRPr lang="ru-RU" sz="1000" b="1" dirty="0" smtClean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Palatino Linotype" pitchFamily="18" charset="0"/>
            </a:endParaRPr>
          </a:p>
        </p:txBody>
      </p:sp>
      <p:pic>
        <p:nvPicPr>
          <p:cNvPr id="7170" name="Picture 2" descr="C:\Documents and Settings\Admin\Рабочий стол\55520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81000" y="4114800"/>
            <a:ext cx="2286000" cy="25908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90600" y="304800"/>
            <a:ext cx="7772400" cy="609600"/>
          </a:xfrm>
          <a:solidFill>
            <a:schemeClr val="bg1"/>
          </a:solidFill>
          <a:ln>
            <a:solidFill>
              <a:srgbClr val="00B050"/>
            </a:solidFill>
          </a:ln>
        </p:spPr>
        <p:txBody>
          <a:bodyPr>
            <a:noAutofit/>
          </a:bodyPr>
          <a:lstStyle/>
          <a:p>
            <a:pPr algn="ctr"/>
            <a:r>
              <a:rPr lang="ru-RU" sz="1600" dirty="0" smtClean="0">
                <a:solidFill>
                  <a:srgbClr val="7030A0"/>
                </a:solidFill>
                <a:effectLst/>
              </a:rPr>
              <a:t>Финансовое обеспечение реализации подпрограмм муниципальной программы «Развитие муниципальной системы образования» за 2017 год</a:t>
            </a:r>
            <a:endParaRPr lang="ru-RU" sz="1600" dirty="0">
              <a:solidFill>
                <a:srgbClr val="7030A0"/>
              </a:solidFill>
              <a:effectLst/>
            </a:endParaRPr>
          </a:p>
        </p:txBody>
      </p:sp>
      <p:graphicFrame>
        <p:nvGraphicFramePr>
          <p:cNvPr id="4" name="Содержимое 3"/>
          <p:cNvGraphicFramePr>
            <a:graphicFrameLocks noGrp="1"/>
          </p:cNvGraphicFramePr>
          <p:nvPr>
            <p:ph idx="1"/>
          </p:nvPr>
        </p:nvGraphicFramePr>
        <p:xfrm>
          <a:off x="228600" y="1143000"/>
          <a:ext cx="8610600" cy="5257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5" name="Picture 2" descr="C:\Users\finupr\Desktop\gerb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pic>
        <p:nvPicPr>
          <p:cNvPr id="8194" name="Picture 2" descr="C:\Documents and Settings\Admin\Рабочий стол\86114970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781800" y="4114800"/>
            <a:ext cx="2057400" cy="20574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1066800" y="336478"/>
            <a:ext cx="7924800" cy="58477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ru-RU" sz="1600" dirty="0" smtClean="0">
                <a:solidFill>
                  <a:srgbClr val="7030A0"/>
                </a:solidFill>
                <a:effectLst/>
              </a:rPr>
              <a:t>Реализация муниципальной программы «Развитие муниципальной системы образования» за 2017 год</a:t>
            </a:r>
            <a:endParaRPr lang="ru-RU" sz="1600" dirty="0">
              <a:effectLst/>
            </a:endParaRPr>
          </a:p>
        </p:txBody>
      </p:sp>
      <p:graphicFrame>
        <p:nvGraphicFramePr>
          <p:cNvPr id="4" name="Содержимое 3"/>
          <p:cNvGraphicFramePr>
            <a:graphicFrameLocks noGrp="1"/>
          </p:cNvGraphicFramePr>
          <p:nvPr>
            <p:ph idx="1"/>
          </p:nvPr>
        </p:nvGraphicFramePr>
        <p:xfrm>
          <a:off x="304800" y="1147458"/>
          <a:ext cx="8686800" cy="5282026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6324600"/>
                <a:gridCol w="533400"/>
                <a:gridCol w="609600"/>
                <a:gridCol w="609600"/>
                <a:gridCol w="609600"/>
              </a:tblGrid>
              <a:tr h="437984">
                <a:tc>
                  <a:txBody>
                    <a:bodyPr/>
                    <a:lstStyle/>
                    <a:p>
                      <a:pPr algn="ctr"/>
                      <a:r>
                        <a:rPr kumimoji="0" lang="ru-RU" sz="1200" kern="1200" dirty="0" smtClean="0"/>
                        <a:t>Основные</a:t>
                      </a:r>
                      <a:r>
                        <a:rPr kumimoji="0" lang="ru-RU" sz="1200" kern="1200" baseline="0" dirty="0" smtClean="0"/>
                        <a:t> </a:t>
                      </a:r>
                      <a:r>
                        <a:rPr kumimoji="0" lang="ru-RU" sz="1200" kern="1200" dirty="0" smtClean="0"/>
                        <a:t>целевые</a:t>
                      </a:r>
                      <a:r>
                        <a:rPr kumimoji="0" lang="ru-RU" sz="1200" kern="1200" baseline="0" dirty="0" smtClean="0"/>
                        <a:t> </a:t>
                      </a:r>
                      <a:r>
                        <a:rPr kumimoji="0" lang="ru-RU" sz="1200" kern="1200" dirty="0" smtClean="0"/>
                        <a:t>показатели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ru-RU" sz="1200" kern="1200" dirty="0" smtClean="0"/>
                        <a:t>Ед. </a:t>
                      </a:r>
                      <a:r>
                        <a:rPr kumimoji="0" lang="ru-RU" sz="1200" kern="1200" dirty="0" err="1" smtClean="0"/>
                        <a:t>изм</a:t>
                      </a:r>
                      <a:r>
                        <a:rPr kumimoji="0" lang="ru-RU" sz="1200" kern="1200" dirty="0" smtClean="0"/>
                        <a:t>.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6 (факт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7 (план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7 (факт)</a:t>
                      </a:r>
                      <a:endParaRPr lang="ru-RU" sz="1200" dirty="0"/>
                    </a:p>
                  </a:txBody>
                  <a:tcPr/>
                </a:tc>
              </a:tr>
              <a:tr h="510981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/>
                        <a:t>Доля детей в возрасте 1-7 лет, получающих дошкольную образовательную услугу и (или) услугу по их содержанию в муниципальных образовательных учреждениях в общей численности детей в возрасте 1-7 лет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ru-RU" sz="1000" dirty="0" smtClean="0"/>
                    </a:p>
                    <a:p>
                      <a:r>
                        <a:rPr lang="ru-RU" sz="1000" dirty="0" smtClean="0"/>
                        <a:t>%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 smtClean="0"/>
                    </a:p>
                    <a:p>
                      <a:r>
                        <a:rPr lang="ru-RU" sz="1000" dirty="0" smtClean="0"/>
                        <a:t>46,7</a:t>
                      </a:r>
                      <a:endParaRPr lang="ru-RU" sz="1000" dirty="0"/>
                    </a:p>
                  </a:txBody>
                  <a:tcPr marL="68400" marR="68400" marT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/>
                        <a:t>51,4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ru-RU" sz="1000" dirty="0" smtClean="0"/>
                    </a:p>
                    <a:p>
                      <a:r>
                        <a:rPr lang="ru-RU" sz="1000" dirty="0" smtClean="0"/>
                        <a:t>52,0</a:t>
                      </a:r>
                      <a:endParaRPr lang="ru-RU" sz="1000" dirty="0"/>
                    </a:p>
                  </a:txBody>
                  <a:tcPr marL="68400" marR="68400" marT="0"/>
                </a:tc>
              </a:tr>
              <a:tr h="510981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/>
                        <a:t>Доля выпускников муниципальных общеобразовательных организаций, не получивших аттестат о среднем общем образовании, в общей численности выпускников муниципальных общеобразовательных учреждений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ru-RU" sz="1000" dirty="0" smtClean="0"/>
                    </a:p>
                    <a:p>
                      <a:r>
                        <a:rPr lang="ru-RU" sz="1000" dirty="0" smtClean="0"/>
                        <a:t>%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 smtClean="0"/>
                    </a:p>
                    <a:p>
                      <a:r>
                        <a:rPr lang="ru-RU" sz="1000" dirty="0" smtClean="0"/>
                        <a:t>2,3</a:t>
                      </a:r>
                      <a:endParaRPr lang="ru-RU" sz="1000" dirty="0"/>
                    </a:p>
                  </a:txBody>
                  <a:tcPr marL="68400" marR="6840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/>
                        <a:t>5,2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ru-RU" sz="1000" dirty="0" smtClean="0"/>
                    </a:p>
                    <a:p>
                      <a:r>
                        <a:rPr lang="ru-RU" sz="1000" dirty="0" smtClean="0"/>
                        <a:t>4,2</a:t>
                      </a:r>
                      <a:endParaRPr lang="ru-RU" sz="1000" dirty="0"/>
                    </a:p>
                  </a:txBody>
                  <a:tcPr marL="68400" marR="68400" marT="0" marB="0"/>
                </a:tc>
              </a:tr>
              <a:tr h="437984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/>
                        <a:t>Доля детей в возрасте 5 - 18 лет, получающих услуги по дополнительному образованию в организациях различной организационно-правовой формы и формы собственности, в общей численности детей данной возрастной группы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ru-RU" sz="1000" dirty="0" smtClean="0"/>
                    </a:p>
                    <a:p>
                      <a:r>
                        <a:rPr lang="ru-RU" sz="1000" dirty="0" smtClean="0"/>
                        <a:t>%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 smtClean="0"/>
                    </a:p>
                    <a:p>
                      <a:r>
                        <a:rPr lang="ru-RU" sz="1000" dirty="0" smtClean="0"/>
                        <a:t>54,5</a:t>
                      </a:r>
                      <a:endParaRPr lang="ru-RU" sz="1000" dirty="0"/>
                    </a:p>
                  </a:txBody>
                  <a:tcPr marL="68400" marR="6840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/>
                        <a:t>62,0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ru-RU" sz="1000" dirty="0" smtClean="0"/>
                    </a:p>
                    <a:p>
                      <a:r>
                        <a:rPr lang="ru-RU" sz="1000" dirty="0" smtClean="0"/>
                        <a:t>62,1</a:t>
                      </a:r>
                      <a:endParaRPr lang="ru-RU" sz="1000" dirty="0"/>
                    </a:p>
                  </a:txBody>
                  <a:tcPr marL="68400" marR="68400" marT="0" marB="0"/>
                </a:tc>
              </a:tr>
              <a:tr h="379586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/>
                        <a:t>Доля муниципальных образовательных учреждений, соответствующих современным требованиям обучения, в общем количестве муниципальных образовательных учреждений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ru-RU" sz="1000" dirty="0" smtClean="0"/>
                    </a:p>
                    <a:p>
                      <a:r>
                        <a:rPr lang="ru-RU" sz="1000" dirty="0" smtClean="0"/>
                        <a:t>%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 smtClean="0"/>
                    </a:p>
                    <a:p>
                      <a:r>
                        <a:rPr lang="ru-RU" sz="1000" dirty="0" smtClean="0"/>
                        <a:t>100,0</a:t>
                      </a:r>
                      <a:endParaRPr lang="ru-RU" sz="1000" dirty="0"/>
                    </a:p>
                  </a:txBody>
                  <a:tcPr marL="68400" marR="6840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 dirty="0"/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/>
                        <a:t>100,0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sz="1000" dirty="0" smtClean="0"/>
                    </a:p>
                    <a:p>
                      <a:r>
                        <a:rPr lang="ru-RU" sz="1000" dirty="0" smtClean="0"/>
                        <a:t>100,0</a:t>
                      </a:r>
                      <a:endParaRPr lang="ru-RU" sz="1000" dirty="0"/>
                    </a:p>
                  </a:txBody>
                  <a:tcPr marL="68400" marR="68400" marT="0" marB="0"/>
                </a:tc>
              </a:tr>
              <a:tr h="496381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/>
                        <a:t>Соотношение  средней  заработной платы  педагогических работников образования и средней заработной   платы в Иркутской области дифференцировано  для  муниципального образования  "Тайшетский район"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ru-RU" sz="1000" dirty="0" smtClean="0"/>
                    </a:p>
                    <a:p>
                      <a:r>
                        <a:rPr lang="ru-RU" sz="1000" dirty="0" smtClean="0"/>
                        <a:t>%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 smtClean="0"/>
                    </a:p>
                    <a:p>
                      <a:r>
                        <a:rPr lang="ru-RU" sz="1000" dirty="0" smtClean="0"/>
                        <a:t>100,0</a:t>
                      </a:r>
                      <a:endParaRPr lang="ru-RU" sz="1000" dirty="0"/>
                    </a:p>
                  </a:txBody>
                  <a:tcPr marL="68400" marR="6840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/>
                        <a:t>100,0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ru-RU" sz="1000" dirty="0" smtClean="0"/>
                    </a:p>
                    <a:p>
                      <a:r>
                        <a:rPr lang="ru-RU" sz="1000" dirty="0" smtClean="0"/>
                        <a:t>100,0</a:t>
                      </a:r>
                      <a:endParaRPr lang="ru-RU" sz="1000" dirty="0"/>
                    </a:p>
                  </a:txBody>
                  <a:tcPr marL="68400" marR="68400" marT="0" marB="0"/>
                </a:tc>
              </a:tr>
              <a:tr h="510981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/>
                        <a:t>Удельный вес образовательных учреждений, имеющих предписания и рекомендаций ОНД по Тайшетскому и Чунскому районам, от общего количества образовательных учреждений по Тайшетскому району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ru-RU" sz="1000" dirty="0" smtClean="0"/>
                    </a:p>
                    <a:p>
                      <a:r>
                        <a:rPr lang="ru-RU" sz="1000" dirty="0" smtClean="0"/>
                        <a:t>%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 smtClean="0"/>
                    </a:p>
                    <a:p>
                      <a:r>
                        <a:rPr lang="ru-RU" sz="1000" dirty="0" smtClean="0"/>
                        <a:t>0,0</a:t>
                      </a:r>
                      <a:endParaRPr lang="ru-RU" sz="1000" dirty="0"/>
                    </a:p>
                  </a:txBody>
                  <a:tcPr marL="68400" marR="6840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/>
                        <a:t>0,0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ru-RU" sz="1000" dirty="0" smtClean="0"/>
                    </a:p>
                    <a:p>
                      <a:r>
                        <a:rPr lang="ru-RU" sz="1000" dirty="0" smtClean="0"/>
                        <a:t>0,0</a:t>
                      </a:r>
                      <a:endParaRPr lang="ru-RU" sz="1000" dirty="0"/>
                    </a:p>
                  </a:txBody>
                  <a:tcPr marL="68400" marR="68400" marT="0" marB="0"/>
                </a:tc>
              </a:tr>
              <a:tr h="379586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/>
                        <a:t>Ведение бухгалтерского и налогового учета, финансово-хозяйственной и экономической деятельности образовательных организаций Тайшетского района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sz="1000" dirty="0" smtClean="0"/>
                    </a:p>
                    <a:p>
                      <a:r>
                        <a:rPr lang="ru-RU" sz="1000" dirty="0" smtClean="0"/>
                        <a:t>%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 smtClean="0"/>
                    </a:p>
                    <a:p>
                      <a:r>
                        <a:rPr lang="ru-RU" sz="1000" dirty="0" smtClean="0"/>
                        <a:t>100,0</a:t>
                      </a:r>
                      <a:endParaRPr lang="ru-RU" sz="1000" dirty="0"/>
                    </a:p>
                  </a:txBody>
                  <a:tcPr marL="68400" marR="6840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000" dirty="0"/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/>
                        <a:t>100,0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sz="1000" dirty="0" smtClean="0"/>
                    </a:p>
                    <a:p>
                      <a:r>
                        <a:rPr lang="ru-RU" sz="1000" dirty="0" smtClean="0"/>
                        <a:t>100,0</a:t>
                      </a:r>
                      <a:endParaRPr lang="ru-RU" sz="1000" dirty="0"/>
                    </a:p>
                  </a:txBody>
                  <a:tcPr marL="68400" marR="68400" marT="0" marB="0"/>
                </a:tc>
              </a:tr>
              <a:tr h="423384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/>
                        <a:t>Организационно – методическое сопровождение деятельности образовательных учреждений Тайшетского района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ru-RU" sz="1000" dirty="0" smtClean="0"/>
                    </a:p>
                    <a:p>
                      <a:r>
                        <a:rPr lang="ru-RU" sz="1000" dirty="0" smtClean="0"/>
                        <a:t>%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100,0</a:t>
                      </a:r>
                      <a:endParaRPr lang="ru-RU" sz="1000" dirty="0"/>
                    </a:p>
                  </a:txBody>
                  <a:tcPr marL="68400" marR="6840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/>
                        <a:t>100,0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100,0</a:t>
                      </a:r>
                      <a:endParaRPr lang="ru-RU" sz="1000" dirty="0"/>
                    </a:p>
                  </a:txBody>
                  <a:tcPr marL="68400" marR="68400" marT="0" marB="0" anchor="ctr"/>
                </a:tc>
              </a:tr>
              <a:tr h="561219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 smtClean="0"/>
                        <a:t>Удельный вес учащихся общеобразовательных учреждений, охваченных летним отдыхом и оздоровлением в </a:t>
                      </a:r>
                      <a:r>
                        <a:rPr lang="ru-RU" sz="1000" dirty="0"/>
                        <a:t>лагерях дневного пребывания в каникулярное время, от общего количества учащихся общеобразовательных учреждений в возрасте 6 – 16 </a:t>
                      </a:r>
                      <a:r>
                        <a:rPr lang="ru-RU" sz="1000" dirty="0" smtClean="0"/>
                        <a:t>лет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ru-RU" sz="1000" dirty="0" smtClean="0"/>
                    </a:p>
                    <a:p>
                      <a:r>
                        <a:rPr lang="ru-RU" sz="1000" dirty="0" smtClean="0"/>
                        <a:t>%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 smtClean="0"/>
                    </a:p>
                    <a:p>
                      <a:r>
                        <a:rPr lang="ru-RU" sz="1000" dirty="0" smtClean="0"/>
                        <a:t>26,6</a:t>
                      </a:r>
                      <a:endParaRPr lang="ru-RU" sz="1000" dirty="0"/>
                    </a:p>
                  </a:txBody>
                  <a:tcPr marL="68400" marR="6840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/>
                        <a:t>26,6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ru-RU" sz="1000" dirty="0" smtClean="0"/>
                    </a:p>
                    <a:p>
                      <a:r>
                        <a:rPr lang="ru-RU" sz="1000" dirty="0" smtClean="0"/>
                        <a:t>26,6</a:t>
                      </a:r>
                      <a:endParaRPr lang="ru-RU" sz="1000" dirty="0"/>
                    </a:p>
                  </a:txBody>
                  <a:tcPr marL="68400" marR="68400" marT="0" marB="0"/>
                </a:tc>
              </a:tr>
              <a:tr h="561219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 smtClean="0"/>
                        <a:t>Доля объектов образовательных учреждений, в которых приняты дополнительные меры</a:t>
                      </a:r>
                      <a:r>
                        <a:rPr lang="ru-RU" sz="1000" baseline="0" dirty="0" smtClean="0"/>
                        <a:t> по повышению уровня антитеррористической защищенности, от общего количества объектов образовательных учреждений</a:t>
                      </a:r>
                      <a:endParaRPr lang="ru-RU" sz="1000" dirty="0" smtClean="0"/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ru-RU" sz="1000" dirty="0" smtClean="0"/>
                    </a:p>
                    <a:p>
                      <a:r>
                        <a:rPr lang="ru-RU" sz="1000" dirty="0" smtClean="0"/>
                        <a:t>%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000" dirty="0" smtClean="0"/>
                    </a:p>
                    <a:p>
                      <a:r>
                        <a:rPr lang="ru-RU" sz="1000" dirty="0" smtClean="0"/>
                        <a:t>0,0</a:t>
                      </a:r>
                    </a:p>
                  </a:txBody>
                  <a:tcPr marL="68400" marR="6840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 smtClean="0"/>
                        <a:t>100,0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ru-RU" sz="1000" dirty="0" smtClean="0"/>
                    </a:p>
                    <a:p>
                      <a:r>
                        <a:rPr lang="ru-RU" sz="1000" dirty="0" smtClean="0"/>
                        <a:t>100,0</a:t>
                      </a:r>
                      <a:endParaRPr lang="ru-RU" sz="1000" dirty="0"/>
                    </a:p>
                  </a:txBody>
                  <a:tcPr marL="68400" marR="68400" marT="0" marB="0"/>
                </a:tc>
              </a:tr>
            </a:tbl>
          </a:graphicData>
        </a:graphic>
      </p:graphicFrame>
      <p:pic>
        <p:nvPicPr>
          <p:cNvPr id="5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66800" y="228600"/>
            <a:ext cx="7696200" cy="609600"/>
          </a:xfrm>
          <a:solidFill>
            <a:srgbClr val="ECF1E1"/>
          </a:solidFill>
          <a:ln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 anchorCtr="1">
            <a:normAutofit fontScale="90000"/>
          </a:bodyPr>
          <a:lstStyle/>
          <a:p>
            <a:pPr algn="ctr" fontAlgn="base">
              <a:spcAft>
                <a:spcPct val="0"/>
              </a:spcAft>
            </a:pPr>
            <a:r>
              <a:rPr lang="ru-RU" sz="1800" dirty="0" smtClean="0">
                <a:effectLst/>
                <a:latin typeface="+mn-lt"/>
                <a:ea typeface="Batang" pitchFamily="18" charset="-127"/>
                <a:cs typeface="Arial" pitchFamily="34" charset="0"/>
              </a:rPr>
              <a:t>Основные показатели   развития  экономики  муниципального образования «Тайшетский район»  в 2017 году</a:t>
            </a:r>
            <a:endParaRPr lang="ru-RU" sz="1800" dirty="0">
              <a:effectLst/>
              <a:latin typeface="+mn-lt"/>
              <a:ea typeface="Batang" pitchFamily="18" charset="-127"/>
              <a:cs typeface="Arial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48624" y="990601"/>
            <a:ext cx="30992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/>
              <a:t>Индекс промышленного производства </a:t>
            </a:r>
          </a:p>
          <a:p>
            <a:pPr algn="ctr"/>
            <a:r>
              <a:rPr lang="ru-RU" sz="1200" b="1" dirty="0" smtClean="0"/>
              <a:t>(в % к предыдущему году)</a:t>
            </a:r>
            <a:endParaRPr lang="ru-RU" sz="1200" b="1" dirty="0"/>
          </a:p>
        </p:txBody>
      </p:sp>
      <p:sp>
        <p:nvSpPr>
          <p:cNvPr id="16" name="TextBox 15"/>
          <p:cNvSpPr txBox="1"/>
          <p:nvPr/>
        </p:nvSpPr>
        <p:spPr>
          <a:xfrm>
            <a:off x="381001" y="3429000"/>
            <a:ext cx="2895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/>
              <a:t>Инвестиции в основной капитал,        млн. рублей</a:t>
            </a:r>
            <a:endParaRPr lang="ru-RU" sz="1200" b="1" dirty="0"/>
          </a:p>
        </p:txBody>
      </p:sp>
      <p:graphicFrame>
        <p:nvGraphicFramePr>
          <p:cNvPr id="18" name="Диаграмма 17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3442043095"/>
              </p:ext>
            </p:extLst>
          </p:nvPr>
        </p:nvGraphicFramePr>
        <p:xfrm>
          <a:off x="228600" y="3810000"/>
          <a:ext cx="3429000" cy="1981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9" name="Диаграмма 18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3197889286"/>
              </p:ext>
            </p:extLst>
          </p:nvPr>
        </p:nvGraphicFramePr>
        <p:xfrm>
          <a:off x="5486400" y="3733800"/>
          <a:ext cx="3429000" cy="1981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5791199" y="3352800"/>
            <a:ext cx="30480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/>
              <a:t>Среднемесячная начисленная заработная плата, рублей</a:t>
            </a:r>
            <a:endParaRPr lang="ru-RU" sz="1200" b="1" dirty="0"/>
          </a:p>
        </p:txBody>
      </p:sp>
      <p:sp>
        <p:nvSpPr>
          <p:cNvPr id="22" name="TextBox 21"/>
          <p:cNvSpPr txBox="1"/>
          <p:nvPr/>
        </p:nvSpPr>
        <p:spPr>
          <a:xfrm>
            <a:off x="5791200" y="1066801"/>
            <a:ext cx="2971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/>
              <a:t>Фонд заработной платы, млн. руб.</a:t>
            </a:r>
            <a:endParaRPr lang="ru-RU" sz="1200" b="1" dirty="0"/>
          </a:p>
        </p:txBody>
      </p:sp>
      <p:sp>
        <p:nvSpPr>
          <p:cNvPr id="25" name="Прямоугольник 24"/>
          <p:cNvSpPr/>
          <p:nvPr/>
        </p:nvSpPr>
        <p:spPr>
          <a:xfrm>
            <a:off x="3429000" y="1371600"/>
            <a:ext cx="2133600" cy="1661993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cs typeface="Andalus" pitchFamily="18" charset="-78"/>
              </a:rPr>
              <a:t>Численность постоянного населения Тайшетского района на начало 2017 года</a:t>
            </a:r>
          </a:p>
          <a:p>
            <a:pPr algn="ctr"/>
            <a:r>
              <a:rPr lang="ru-RU" sz="1200" b="1" dirty="0" smtClean="0">
                <a:latin typeface="Times New Roman" pitchFamily="18" charset="0"/>
                <a:ea typeface="KaiTi" pitchFamily="49" charset="-122"/>
                <a:cs typeface="Andalus" pitchFamily="18" charset="-78"/>
              </a:rPr>
              <a:t>74 188 </a:t>
            </a:r>
            <a:r>
              <a:rPr lang="ru-RU" sz="1200" dirty="0" smtClean="0">
                <a:cs typeface="Andalus" pitchFamily="18" charset="-78"/>
              </a:rPr>
              <a:t>человек, в том числе:</a:t>
            </a:r>
          </a:p>
          <a:p>
            <a:pPr algn="ctr"/>
            <a:r>
              <a:rPr lang="ru-RU" sz="1200" dirty="0" smtClean="0">
                <a:cs typeface="Andalus" pitchFamily="18" charset="-78"/>
              </a:rPr>
              <a:t>городское население - </a:t>
            </a:r>
            <a:r>
              <a:rPr lang="ru-RU" sz="1200" b="1" dirty="0" smtClean="0">
                <a:latin typeface="Times New Roman" pitchFamily="18" charset="0"/>
                <a:ea typeface="KaiTi" pitchFamily="49" charset="-122"/>
                <a:cs typeface="Andalus" pitchFamily="18" charset="-78"/>
              </a:rPr>
              <a:t>56 049 </a:t>
            </a:r>
            <a:r>
              <a:rPr lang="ru-RU" sz="1200" dirty="0" smtClean="0">
                <a:cs typeface="Andalus" pitchFamily="18" charset="-78"/>
              </a:rPr>
              <a:t>человек, сельское население - </a:t>
            </a:r>
            <a:r>
              <a:rPr lang="ru-RU" sz="1200" b="1" dirty="0" smtClean="0">
                <a:latin typeface="Times New Roman" pitchFamily="18" charset="0"/>
                <a:ea typeface="KaiTi" pitchFamily="49" charset="-122"/>
                <a:cs typeface="Andalus" pitchFamily="18" charset="-78"/>
              </a:rPr>
              <a:t>18 139 </a:t>
            </a:r>
            <a:r>
              <a:rPr lang="ru-RU" sz="1200" dirty="0" smtClean="0">
                <a:cs typeface="Andalus" pitchFamily="18" charset="-78"/>
              </a:rPr>
              <a:t>человек</a:t>
            </a:r>
          </a:p>
          <a:p>
            <a:pPr algn="ctr"/>
            <a:endParaRPr lang="ru-RU" dirty="0" smtClean="0">
              <a:cs typeface="Arial" pitchFamily="34" charset="0"/>
            </a:endParaRPr>
          </a:p>
        </p:txBody>
      </p:sp>
      <p:graphicFrame>
        <p:nvGraphicFramePr>
          <p:cNvPr id="26" name="Диаграмма 25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3197889286"/>
              </p:ext>
            </p:extLst>
          </p:nvPr>
        </p:nvGraphicFramePr>
        <p:xfrm>
          <a:off x="5562600" y="1600200"/>
          <a:ext cx="3200400" cy="1676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14" name="Picture 2" descr="C:\Users\finupr\Desktop\gerb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" y="1"/>
            <a:ext cx="914399" cy="1066799"/>
          </a:xfrm>
          <a:prstGeom prst="rect">
            <a:avLst/>
          </a:prstGeom>
          <a:noFill/>
        </p:spPr>
      </p:pic>
      <p:sp>
        <p:nvSpPr>
          <p:cNvPr id="32" name="Скругленный прямоугольник 31"/>
          <p:cNvSpPr/>
          <p:nvPr/>
        </p:nvSpPr>
        <p:spPr>
          <a:xfrm>
            <a:off x="152400" y="6172200"/>
            <a:ext cx="8839200" cy="533400"/>
          </a:xfrm>
          <a:prstGeom prst="roundRect">
            <a:avLst/>
          </a:prstGeom>
          <a:blipFill>
            <a:blip r:embed="rId7" cstate="print"/>
            <a:tile tx="0" ty="0" sx="100000" sy="100000" flip="none" algn="tl"/>
          </a:blip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ru-RU" sz="1200" dirty="0" smtClean="0"/>
              <a:t>Показатели представлены в соответствии с данными отчета о реализации Программы социально-экономического развития муниципального образования «Тайшетский район» на 2007 – 2017 годы за 2017 год</a:t>
            </a:r>
            <a:endParaRPr lang="ru-RU" sz="1200" dirty="0"/>
          </a:p>
        </p:txBody>
      </p:sp>
      <p:graphicFrame>
        <p:nvGraphicFramePr>
          <p:cNvPr id="21" name="Диаграмма 20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3442043095"/>
              </p:ext>
            </p:extLst>
          </p:nvPr>
        </p:nvGraphicFramePr>
        <p:xfrm>
          <a:off x="228600" y="1371600"/>
          <a:ext cx="3429000" cy="2133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3581400" y="3581400"/>
            <a:ext cx="2133600" cy="1661993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cs typeface="Andalus" pitchFamily="18" charset="-78"/>
              </a:rPr>
              <a:t>Численность постоянного населения Тайшетского района на конец 2017 года</a:t>
            </a:r>
          </a:p>
          <a:p>
            <a:pPr algn="ctr"/>
            <a:r>
              <a:rPr lang="ru-RU" sz="1200" b="1" dirty="0" smtClean="0">
                <a:latin typeface="Times New Roman" pitchFamily="18" charset="0"/>
                <a:ea typeface="KaiTi" pitchFamily="49" charset="-122"/>
                <a:cs typeface="Andalus" pitchFamily="18" charset="-78"/>
              </a:rPr>
              <a:t>73 342 </a:t>
            </a:r>
            <a:r>
              <a:rPr lang="ru-RU" sz="1200" dirty="0" smtClean="0">
                <a:cs typeface="Andalus" pitchFamily="18" charset="-78"/>
              </a:rPr>
              <a:t>человека, в том числе:</a:t>
            </a:r>
          </a:p>
          <a:p>
            <a:pPr algn="ctr"/>
            <a:r>
              <a:rPr lang="ru-RU" sz="1200" dirty="0" smtClean="0">
                <a:cs typeface="Andalus" pitchFamily="18" charset="-78"/>
              </a:rPr>
              <a:t>городское население –          </a:t>
            </a:r>
            <a:r>
              <a:rPr lang="ru-RU" sz="1200" b="1" dirty="0" smtClean="0">
                <a:latin typeface="Times New Roman" pitchFamily="18" charset="0"/>
                <a:ea typeface="KaiTi" pitchFamily="49" charset="-122"/>
                <a:cs typeface="Andalus" pitchFamily="18" charset="-78"/>
              </a:rPr>
              <a:t>55 539 </a:t>
            </a:r>
            <a:r>
              <a:rPr lang="ru-RU" sz="1200" dirty="0" smtClean="0">
                <a:cs typeface="Andalus" pitchFamily="18" charset="-78"/>
              </a:rPr>
              <a:t>человек, сельское население – </a:t>
            </a:r>
            <a:r>
              <a:rPr lang="ru-RU" sz="1200" b="1" dirty="0" smtClean="0">
                <a:latin typeface="Times New Roman" pitchFamily="18" charset="0"/>
                <a:ea typeface="KaiTi" pitchFamily="49" charset="-122"/>
                <a:cs typeface="Andalus" pitchFamily="18" charset="-78"/>
              </a:rPr>
              <a:t>17 803 </a:t>
            </a:r>
            <a:r>
              <a:rPr lang="ru-RU" sz="1200" dirty="0" smtClean="0">
                <a:cs typeface="Andalus" pitchFamily="18" charset="-78"/>
              </a:rPr>
              <a:t>человека</a:t>
            </a:r>
          </a:p>
          <a:p>
            <a:pPr algn="ctr"/>
            <a:endParaRPr lang="ru-RU" dirty="0" smtClean="0"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3" name="Прямоугольник 2"/>
          <p:cNvSpPr/>
          <p:nvPr/>
        </p:nvSpPr>
        <p:spPr>
          <a:xfrm>
            <a:off x="1143000" y="304800"/>
            <a:ext cx="7696200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ru-RU" dirty="0" smtClean="0">
                <a:solidFill>
                  <a:srgbClr val="7030A0"/>
                </a:solidFill>
              </a:rPr>
              <a:t>Реализация муниципальной программы «Развитие муниципальной системы образования» за 201</a:t>
            </a:r>
            <a:r>
              <a:rPr lang="en-US" dirty="0" smtClean="0">
                <a:solidFill>
                  <a:srgbClr val="7030A0"/>
                </a:solidFill>
              </a:rPr>
              <a:t>7</a:t>
            </a:r>
            <a:r>
              <a:rPr lang="ru-RU" dirty="0" smtClean="0">
                <a:solidFill>
                  <a:srgbClr val="7030A0"/>
                </a:solidFill>
              </a:rPr>
              <a:t> год</a:t>
            </a:r>
            <a:endParaRPr lang="ru-RU" dirty="0"/>
          </a:p>
        </p:txBody>
      </p:sp>
      <p:sp>
        <p:nvSpPr>
          <p:cNvPr id="4" name="Содержимое 2"/>
          <p:cNvSpPr txBox="1">
            <a:spLocks/>
          </p:cNvSpPr>
          <p:nvPr/>
        </p:nvSpPr>
        <p:spPr>
          <a:xfrm>
            <a:off x="3276600" y="1143000"/>
            <a:ext cx="5715000" cy="2286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>
            <a:normAutofit fontScale="92500"/>
          </a:bodyPr>
          <a:lstStyle/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ü"/>
              <a:tabLst/>
              <a:defRPr/>
            </a:pPr>
            <a:r>
              <a:rPr kumimoji="0" lang="ru-RU" sz="120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В 2017 году в муниципальной системе образования функционировали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35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дошкольных образовательных организаций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.</a:t>
            </a:r>
            <a:endParaRPr kumimoji="0" lang="ru-RU" sz="1200" b="0" i="0" u="none" strike="noStrike" kern="1200" cap="none" spc="0" normalizeH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ü"/>
              <a:tabLst/>
              <a:defRPr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Дошкольным образованием охвачено 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3 </a:t>
            </a:r>
            <a:r>
              <a:rPr lang="en-US" sz="1200" b="1" dirty="0" smtClean="0">
                <a:latin typeface="Times New Roman" pitchFamily="18" charset="0"/>
                <a:cs typeface="Times New Roman" pitchFamily="18" charset="0"/>
              </a:rPr>
              <a:t>243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ребенка или 52,0 % от общего количества детей в возрасте от 1 до 7 лет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342900" indent="-342900" algn="just">
              <a:spcBef>
                <a:spcPct val="20000"/>
              </a:spcBef>
              <a:buClr>
                <a:schemeClr val="accent1"/>
              </a:buClr>
              <a:buSzPct val="70000"/>
              <a:buFont typeface="Wingdings" pitchFamily="2" charset="2"/>
              <a:buChar char="ü"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Мероприятия по предотвращению распространения туберкулеза в образовательных</a:t>
            </a:r>
            <a:r>
              <a:rPr kumimoji="0" lang="ru-RU" sz="12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организациях реализованы в сумме </a:t>
            </a:r>
            <a:r>
              <a:rPr kumimoji="0" lang="ru-RU" sz="1200" b="1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948,6</a:t>
            </a:r>
            <a:r>
              <a:rPr kumimoji="0" lang="ru-RU" sz="12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тыс. рублей, которые были направлены на обеспечение среднесуточного набора продуктов питания детей и подростков, находящихся под диспансерным наблюдением у фтизиатра по </a:t>
            </a:r>
            <a:r>
              <a:rPr kumimoji="0" lang="en-US" sz="12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I</a:t>
            </a:r>
            <a:r>
              <a:rPr kumimoji="0" lang="ru-RU" sz="12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</a:t>
            </a:r>
            <a:r>
              <a:rPr kumimoji="0" lang="en-US" sz="12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V</a:t>
            </a:r>
            <a:r>
              <a:rPr kumimoji="0" lang="ru-RU" sz="12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и</a:t>
            </a:r>
            <a:r>
              <a:rPr kumimoji="0" lang="en-US" sz="12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VI</a:t>
            </a:r>
            <a:r>
              <a:rPr kumimoji="0" lang="ru-RU" sz="12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группе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. Получили усиленное питание </a:t>
            </a:r>
            <a:r>
              <a:rPr kumimoji="0" lang="ru-RU" sz="1200" b="1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47</a:t>
            </a:r>
            <a:r>
              <a:rPr kumimoji="0" lang="ru-RU" sz="12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воспитанников МКДОУ д/с №15 г. Тайшета</a:t>
            </a:r>
            <a:r>
              <a:rPr kumimoji="0" lang="ru-RU" sz="14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.</a:t>
            </a:r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 algn="just">
              <a:spcBef>
                <a:spcPct val="20000"/>
              </a:spcBef>
              <a:buClr>
                <a:schemeClr val="accent1"/>
              </a:buClr>
              <a:buSzPct val="70000"/>
              <a:buFont typeface="Wingdings" pitchFamily="2" charset="2"/>
              <a:buChar char="ü"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Мероприятия</a:t>
            </a:r>
            <a:r>
              <a:rPr kumimoji="0" lang="ru-RU" sz="12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по капитальному ремонту здания МКДОУ детский сад «Ромашка» г. Тайшет исполнены в сумме </a:t>
            </a:r>
            <a:r>
              <a:rPr kumimoji="0" lang="ru-RU" sz="1200" b="1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14 539,9 </a:t>
            </a:r>
            <a:r>
              <a:rPr kumimoji="0" lang="ru-RU" sz="12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тыс. рублей, по капитальному ремонту здания МКДОУ детский сад «Рябинка» исполнены в сумме </a:t>
            </a:r>
            <a:r>
              <a:rPr kumimoji="0" lang="ru-RU" sz="1200" b="1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2 135,7 </a:t>
            </a:r>
            <a:r>
              <a:rPr kumimoji="0" lang="ru-RU" sz="12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тыс. рублей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5" name="Содержимое 2"/>
          <p:cNvSpPr txBox="1">
            <a:spLocks/>
          </p:cNvSpPr>
          <p:nvPr/>
        </p:nvSpPr>
        <p:spPr>
          <a:xfrm>
            <a:off x="381000" y="3962400"/>
            <a:ext cx="5410200" cy="2667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ü"/>
              <a:tabLst/>
              <a:defRPr/>
            </a:pPr>
            <a:r>
              <a:rPr kumimoji="0" lang="ru-RU" sz="120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В 2017 году в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35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общеобразовательных организациях</a:t>
            </a:r>
            <a:r>
              <a:rPr kumimoji="0" lang="ru-RU" sz="12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обучались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9 727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человек.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ü"/>
              <a:tabLst/>
              <a:defRPr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Все общеобразовательные организации района действуют в условиях введения федеральных государственных образовательных стандартов.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ü"/>
              <a:tabLst/>
              <a:defRPr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В  2017 году временная трудовая деятельность была организована для 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400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детей в возрасте от 14 до 18 лет в свободное от учебы время. Направлено средств из бюджета в сумме 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314,5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тыс. рублей.</a:t>
            </a:r>
          </a:p>
          <a:p>
            <a:pPr marL="342900" lvl="0" indent="-342900" algn="just">
              <a:spcBef>
                <a:spcPct val="20000"/>
              </a:spcBef>
              <a:buClr>
                <a:schemeClr val="accent1"/>
              </a:buClr>
              <a:buSzPct val="70000"/>
              <a:buFont typeface="Wingdings" pitchFamily="2" charset="2"/>
              <a:buChar char="ü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В 2017 году 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2 607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школьника питались бесплатно в школьной столовой в рамках осуществления отдельных областных государственных полномочий по предоставлению мер социальной поддержки многодетным и малоимущим семьям., исполнение составило в сумме 11 791,4 тыс. рублей.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v"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v"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 2"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v"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pic>
        <p:nvPicPr>
          <p:cNvPr id="11266" name="Picture 2" descr="C:\Documents and Settings\Admin\Рабочий стол\vspart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2400" y="1066800"/>
            <a:ext cx="2971801" cy="2667000"/>
          </a:xfrm>
          <a:prstGeom prst="rect">
            <a:avLst/>
          </a:prstGeom>
          <a:noFill/>
        </p:spPr>
      </p:pic>
      <p:pic>
        <p:nvPicPr>
          <p:cNvPr id="11267" name="Picture 3" descr="C:\Documents and Settings\Admin\Рабочий стол\detsad_1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019800" y="3914775"/>
            <a:ext cx="2895600" cy="2562225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3" name="Прямоугольник 2"/>
          <p:cNvSpPr/>
          <p:nvPr/>
        </p:nvSpPr>
        <p:spPr>
          <a:xfrm>
            <a:off x="1143000" y="304800"/>
            <a:ext cx="7696200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ru-RU" dirty="0" smtClean="0">
                <a:solidFill>
                  <a:srgbClr val="7030A0"/>
                </a:solidFill>
              </a:rPr>
              <a:t>Реализация муниципальной программы «Развитие муниципальной системы образования» за 2017 год</a:t>
            </a:r>
            <a:endParaRPr lang="ru-RU" dirty="0"/>
          </a:p>
        </p:txBody>
      </p:sp>
      <p:sp>
        <p:nvSpPr>
          <p:cNvPr id="4" name="Содержимое 2"/>
          <p:cNvSpPr txBox="1">
            <a:spLocks/>
          </p:cNvSpPr>
          <p:nvPr/>
        </p:nvSpPr>
        <p:spPr>
          <a:xfrm>
            <a:off x="3048000" y="1219200"/>
            <a:ext cx="2667000" cy="22098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>
            <a:normAutofit fontScale="70000" lnSpcReduction="20000"/>
          </a:bodyPr>
          <a:lstStyle/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ü"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72000" marR="0" lvl="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ü"/>
              <a:tabLst/>
              <a:defRPr/>
            </a:pPr>
            <a:r>
              <a:rPr kumimoji="0" lang="ru-RU" sz="160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В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2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учреждениях,</a:t>
            </a:r>
            <a:r>
              <a:rPr kumimoji="0" lang="ru-RU" sz="16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оказывающие услуги по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дополнительному образованию (МБУДО ЦДО «Радуга» г. Тайшет, МКУДО Дом детского творчества г. Бирюсинска)</a:t>
            </a:r>
            <a:r>
              <a:rPr kumimoji="0" lang="ru-RU" sz="16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проходили обучение </a:t>
            </a:r>
            <a:r>
              <a:rPr kumimoji="0" lang="en-US" sz="1600" b="1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4 420 </a:t>
            </a:r>
            <a:r>
              <a:rPr kumimoji="0" lang="ru-RU" sz="16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учащихся.</a:t>
            </a:r>
          </a:p>
          <a:p>
            <a:pPr marL="72000" marR="0" lvl="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ü"/>
              <a:tabLst/>
              <a:defRPr/>
            </a:pPr>
            <a:r>
              <a:rPr lang="ru-RU" sz="1600" baseline="0" dirty="0" smtClean="0">
                <a:latin typeface="Times New Roman" pitchFamily="18" charset="0"/>
                <a:cs typeface="Times New Roman" pitchFamily="18" charset="0"/>
              </a:rPr>
              <a:t>Создано </a:t>
            </a:r>
            <a:r>
              <a:rPr lang="ru-RU" sz="1600" b="1" baseline="0" dirty="0" smtClean="0">
                <a:latin typeface="Times New Roman" pitchFamily="18" charset="0"/>
                <a:cs typeface="Times New Roman" pitchFamily="18" charset="0"/>
              </a:rPr>
              <a:t>286</a:t>
            </a:r>
            <a:r>
              <a:rPr lang="ru-RU" sz="1600" baseline="0" dirty="0" smtClean="0">
                <a:latin typeface="Times New Roman" pitchFamily="18" charset="0"/>
                <a:cs typeface="Times New Roman" pitchFamily="18" charset="0"/>
              </a:rPr>
              <a:t> групп (кружков). Обучение детей проходило по направлениям: техническое, эколого-биологоческое, спортивное, художественно-творческое, туристско-краеведческое, культурологическое и другие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v"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5" name="Содержимое 2"/>
          <p:cNvSpPr txBox="1">
            <a:spLocks/>
          </p:cNvSpPr>
          <p:nvPr/>
        </p:nvSpPr>
        <p:spPr>
          <a:xfrm>
            <a:off x="152400" y="4419600"/>
            <a:ext cx="2971800" cy="21336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>
            <a:normAutofit fontScale="47500" lnSpcReduction="20000"/>
          </a:bodyPr>
          <a:lstStyle/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342900" indent="-342900" algn="just">
              <a:spcBef>
                <a:spcPct val="20000"/>
              </a:spcBef>
              <a:buClr>
                <a:schemeClr val="accent1"/>
              </a:buClr>
              <a:buSzPct val="70000"/>
              <a:buFont typeface="Wingdings" pitchFamily="2" charset="2"/>
              <a:buChar char="ü"/>
            </a:pPr>
            <a:r>
              <a:rPr lang="ru-RU" sz="2300" dirty="0" smtClean="0">
                <a:latin typeface="Times New Roman" pitchFamily="18" charset="0"/>
                <a:cs typeface="Times New Roman" pitchFamily="18" charset="0"/>
              </a:rPr>
              <a:t>Проведены мероприятия по организации  отдыха и оздоровлению детей в образовательных организациях муниципального образования «Тайшетский район» в каникулярное время. В летний период 2017 года в     </a:t>
            </a:r>
            <a:r>
              <a:rPr lang="ru-RU" sz="2300" b="1" dirty="0" smtClean="0">
                <a:latin typeface="Times New Roman" pitchFamily="18" charset="0"/>
                <a:cs typeface="Times New Roman" pitchFamily="18" charset="0"/>
              </a:rPr>
              <a:t>34</a:t>
            </a:r>
            <a:r>
              <a:rPr lang="ru-RU" sz="2300" dirty="0" smtClean="0">
                <a:latin typeface="Times New Roman" pitchFamily="18" charset="0"/>
                <a:cs typeface="Times New Roman" pitchFamily="18" charset="0"/>
              </a:rPr>
              <a:t> лагерях дневного пребывания детей на базе общеобразовательных организаций пребывало </a:t>
            </a:r>
            <a:r>
              <a:rPr lang="ru-RU" sz="2300" b="1" dirty="0" smtClean="0">
                <a:latin typeface="Times New Roman" pitchFamily="18" charset="0"/>
                <a:cs typeface="Times New Roman" pitchFamily="18" charset="0"/>
              </a:rPr>
              <a:t>2 482 </a:t>
            </a:r>
            <a:r>
              <a:rPr lang="ru-RU" sz="2300" dirty="0" smtClean="0">
                <a:latin typeface="Times New Roman" pitchFamily="18" charset="0"/>
                <a:cs typeface="Times New Roman" pitchFamily="18" charset="0"/>
              </a:rPr>
              <a:t>человека. Направлено на проведение данного мероприятия  бюджетных средств в сумме 6 443,6 тыс. рублей, в том числе на приобретение продуктов питания в сумме  </a:t>
            </a:r>
            <a:r>
              <a:rPr lang="ru-RU" sz="2300" b="1" dirty="0" smtClean="0">
                <a:latin typeface="Times New Roman" pitchFamily="18" charset="0"/>
                <a:cs typeface="Times New Roman" pitchFamily="18" charset="0"/>
              </a:rPr>
              <a:t>5 227,1 </a:t>
            </a:r>
            <a:r>
              <a:rPr lang="ru-RU" sz="2300" dirty="0" smtClean="0">
                <a:latin typeface="Times New Roman" pitchFamily="18" charset="0"/>
                <a:cs typeface="Times New Roman" pitchFamily="18" charset="0"/>
              </a:rPr>
              <a:t>тыс. рублей. </a:t>
            </a:r>
            <a:endParaRPr kumimoji="0" lang="ru-RU" sz="2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v"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8" name="Содержимое 2"/>
          <p:cNvSpPr txBox="1">
            <a:spLocks/>
          </p:cNvSpPr>
          <p:nvPr/>
        </p:nvSpPr>
        <p:spPr>
          <a:xfrm>
            <a:off x="5486400" y="3581400"/>
            <a:ext cx="3352800" cy="29718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>
            <a:normAutofit fontScale="47500" lnSpcReduction="20000"/>
          </a:bodyPr>
          <a:lstStyle/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72000" lvl="0" indent="-72000" algn="just">
              <a:spcBef>
                <a:spcPct val="20000"/>
              </a:spcBef>
              <a:buClr>
                <a:schemeClr val="accent1"/>
              </a:buClr>
              <a:buSzPct val="70000"/>
              <a:buFont typeface="Wingdings" pitchFamily="2" charset="2"/>
              <a:buChar char="ü"/>
              <a:defRPr/>
            </a:pPr>
            <a:r>
              <a:rPr lang="ru-RU" sz="2500" dirty="0" smtClean="0">
                <a:latin typeface="Times New Roman" pitchFamily="18" charset="0"/>
                <a:cs typeface="Times New Roman" pitchFamily="18" charset="0"/>
              </a:rPr>
              <a:t>На обеспечение пожарной безопасности в учреждениях образования направлены  средства бюджета в сумме </a:t>
            </a:r>
            <a:r>
              <a:rPr lang="ru-RU" sz="2500" b="1" dirty="0" smtClean="0">
                <a:latin typeface="Times New Roman" pitchFamily="18" charset="0"/>
                <a:cs typeface="Times New Roman" pitchFamily="18" charset="0"/>
              </a:rPr>
              <a:t>4 627,4 </a:t>
            </a:r>
            <a:r>
              <a:rPr lang="ru-RU" sz="2500" dirty="0" smtClean="0">
                <a:latin typeface="Times New Roman" pitchFamily="18" charset="0"/>
                <a:cs typeface="Times New Roman" pitchFamily="18" charset="0"/>
              </a:rPr>
              <a:t>тыс. рублей. Во всех образовательных организациях заменены комплекты оборудования пожарной сигнализации (Цербер), вывод на пульт пожарной охраны.</a:t>
            </a:r>
          </a:p>
          <a:p>
            <a:pPr marL="72000" lvl="0" indent="-72000" algn="just">
              <a:spcBef>
                <a:spcPct val="20000"/>
              </a:spcBef>
              <a:buClr>
                <a:schemeClr val="accent1"/>
              </a:buClr>
              <a:buSzPct val="70000"/>
              <a:buFont typeface="Wingdings" pitchFamily="2" charset="2"/>
              <a:buChar char="ü"/>
              <a:defRPr/>
            </a:pPr>
            <a:r>
              <a:rPr kumimoji="0" lang="ru-RU" sz="250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Организован подвоз 408 школьников, задействовано 21 единица транспорта, направлены средства в сумме       </a:t>
            </a:r>
            <a:r>
              <a:rPr kumimoji="0" lang="ru-RU" sz="2500" b="1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10 288,4 </a:t>
            </a:r>
            <a:r>
              <a:rPr kumimoji="0" lang="ru-RU" sz="250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тыс. рублей.</a:t>
            </a:r>
          </a:p>
          <a:p>
            <a:pPr marL="72000" algn="just">
              <a:spcBef>
                <a:spcPct val="20000"/>
              </a:spcBef>
              <a:buClr>
                <a:schemeClr val="accent1"/>
              </a:buClr>
              <a:buSzPct val="70000"/>
              <a:buFont typeface="Wingdings" pitchFamily="2" charset="2"/>
              <a:buChar char="ü"/>
            </a:pPr>
            <a:r>
              <a:rPr lang="ru-RU" sz="2500" dirty="0" smtClean="0">
                <a:latin typeface="Times New Roman" pitchFamily="18" charset="0"/>
                <a:cs typeface="Times New Roman" pitchFamily="18" charset="0"/>
              </a:rPr>
              <a:t>Выполнены ремонтные работы в муниципальных образовательных учреждениях  в сумме  </a:t>
            </a:r>
            <a:r>
              <a:rPr lang="ru-RU" sz="2500" b="1" dirty="0" smtClean="0">
                <a:latin typeface="Times New Roman" pitchFamily="18" charset="0"/>
                <a:cs typeface="Times New Roman" pitchFamily="18" charset="0"/>
              </a:rPr>
              <a:t>3 160,9 </a:t>
            </a:r>
            <a:r>
              <a:rPr lang="ru-RU" sz="2500" dirty="0" smtClean="0">
                <a:latin typeface="Times New Roman" pitchFamily="18" charset="0"/>
                <a:cs typeface="Times New Roman" pitchFamily="18" charset="0"/>
              </a:rPr>
              <a:t>тыс. рублей.</a:t>
            </a:r>
          </a:p>
          <a:p>
            <a:pPr marL="72000" algn="just">
              <a:spcBef>
                <a:spcPct val="20000"/>
              </a:spcBef>
              <a:buClr>
                <a:schemeClr val="accent1"/>
              </a:buClr>
              <a:buSzPct val="70000"/>
              <a:buFont typeface="Wingdings" pitchFamily="2" charset="2"/>
              <a:buChar char="ü"/>
            </a:pPr>
            <a:r>
              <a:rPr lang="ru-RU" sz="2500" dirty="0" smtClean="0">
                <a:latin typeface="Times New Roman" pitchFamily="18" charset="0"/>
                <a:cs typeface="Times New Roman" pitchFamily="18" charset="0"/>
              </a:rPr>
              <a:t>Установлены приборы учета тепловой энергии в сумме </a:t>
            </a:r>
            <a:r>
              <a:rPr lang="ru-RU" sz="2500" b="1" dirty="0" smtClean="0">
                <a:latin typeface="Times New Roman" pitchFamily="18" charset="0"/>
                <a:cs typeface="Times New Roman" pitchFamily="18" charset="0"/>
              </a:rPr>
              <a:t>1 200,0 </a:t>
            </a:r>
            <a:r>
              <a:rPr lang="ru-RU" sz="2500" dirty="0" smtClean="0">
                <a:latin typeface="Times New Roman" pitchFamily="18" charset="0"/>
                <a:cs typeface="Times New Roman" pitchFamily="18" charset="0"/>
              </a:rPr>
              <a:t>тыс. рублей.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ü"/>
              <a:tabLst/>
              <a:defRPr/>
            </a:pPr>
            <a:endParaRPr kumimoji="0" lang="ru-RU" sz="25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052" name="Picture 4" descr="C:\Users\finupr\Desktop\lager-1024x551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2400" y="3657600"/>
            <a:ext cx="2819400" cy="609600"/>
          </a:xfrm>
          <a:prstGeom prst="rect">
            <a:avLst/>
          </a:prstGeom>
          <a:noFill/>
        </p:spPr>
      </p:pic>
      <p:pic>
        <p:nvPicPr>
          <p:cNvPr id="1029" name="Picture 5" descr="C:\Users\finupr\Desktop\199600_html_4a3b186c.gif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505200" y="3657600"/>
            <a:ext cx="1676400" cy="2895600"/>
          </a:xfrm>
          <a:prstGeom prst="rect">
            <a:avLst/>
          </a:prstGeom>
          <a:noFill/>
        </p:spPr>
      </p:pic>
      <p:pic>
        <p:nvPicPr>
          <p:cNvPr id="1030" name="Picture 6" descr="C:\Users\finupr\Desktop\img_2106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52399" y="1143000"/>
            <a:ext cx="2819401" cy="2514600"/>
          </a:xfrm>
          <a:prstGeom prst="rect">
            <a:avLst/>
          </a:prstGeom>
          <a:noFill/>
        </p:spPr>
      </p:pic>
      <p:pic>
        <p:nvPicPr>
          <p:cNvPr id="6" name="Picture 2" descr="C:\Users\finupr\Desktop\43050800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096000" y="1295400"/>
            <a:ext cx="2514600" cy="2057399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3" name="Прямоугольник 2"/>
          <p:cNvSpPr/>
          <p:nvPr/>
        </p:nvSpPr>
        <p:spPr>
          <a:xfrm>
            <a:off x="1143000" y="304800"/>
            <a:ext cx="7696200" cy="64633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ru-RU" dirty="0" smtClean="0">
                <a:solidFill>
                  <a:srgbClr val="7030A0"/>
                </a:solidFill>
              </a:rPr>
              <a:t>Реализация муниципальной программы «Развитие муниципальной системы образования» за 2017 год</a:t>
            </a:r>
            <a:endParaRPr lang="ru-RU" dirty="0"/>
          </a:p>
        </p:txBody>
      </p:sp>
      <p:sp>
        <p:nvSpPr>
          <p:cNvPr id="4" name="Содержимое 2"/>
          <p:cNvSpPr txBox="1">
            <a:spLocks/>
          </p:cNvSpPr>
          <p:nvPr/>
        </p:nvSpPr>
        <p:spPr>
          <a:xfrm>
            <a:off x="228600" y="1143001"/>
            <a:ext cx="8610600" cy="5232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tabLst/>
              <a:defRPr/>
            </a:pPr>
            <a:r>
              <a:rPr kumimoji="0" lang="ru-RU" sz="140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В 2017 году реализованы мероприятия перечня проектов народных инициатив</a:t>
            </a:r>
            <a:r>
              <a:rPr kumimoji="0" lang="ru-RU" sz="140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в сумме 10 840,8 тыс. рублей, в том числе средства из областного бюджета  в сумме 9 756,8 тыс. руб. Проведены следующие мероприятия: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5" name="Содержимое 2"/>
          <p:cNvSpPr txBox="1">
            <a:spLocks/>
          </p:cNvSpPr>
          <p:nvPr/>
        </p:nvSpPr>
        <p:spPr>
          <a:xfrm>
            <a:off x="152400" y="3733800"/>
            <a:ext cx="2971800" cy="138499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spcBef>
                <a:spcPct val="20000"/>
              </a:spcBef>
              <a:buClr>
                <a:schemeClr val="accent1"/>
              </a:buClr>
              <a:buSzPct val="70000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Оборудование  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30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образовательных организаций системами видеонаблюдения, обеспечивающими непрерывное видеонаблюдение за состоянием обстановки всей территории учреждения (объем средств в сумме           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3 253,0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тыс. рублей)</a:t>
            </a:r>
            <a:endParaRPr kumimoji="0" lang="ru-RU" sz="2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Содержимое 2"/>
          <p:cNvSpPr txBox="1">
            <a:spLocks/>
          </p:cNvSpPr>
          <p:nvPr/>
        </p:nvSpPr>
        <p:spPr>
          <a:xfrm>
            <a:off x="3429000" y="1981201"/>
            <a:ext cx="1828800" cy="175432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lvl="0" algn="ctr">
              <a:spcBef>
                <a:spcPct val="20000"/>
              </a:spcBef>
              <a:buClr>
                <a:schemeClr val="accent1"/>
              </a:buClr>
              <a:buSzPct val="70000"/>
              <a:defRPr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роведение ремонта в зданиях образовательных организациях  и устройство водоснабжения и водоотведения (объем средств в сумме 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3 4</a:t>
            </a:r>
            <a:r>
              <a:rPr lang="en-US" sz="1200" b="1" dirty="0" smtClean="0">
                <a:latin typeface="Times New Roman" pitchFamily="18" charset="0"/>
                <a:cs typeface="Times New Roman" pitchFamily="18" charset="0"/>
              </a:rPr>
              <a:t>5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8,</a:t>
            </a:r>
            <a:r>
              <a:rPr lang="en-US" sz="1200" b="1" dirty="0" smtClean="0">
                <a:latin typeface="Times New Roman" pitchFamily="18" charset="0"/>
                <a:cs typeface="Times New Roman" pitchFamily="18" charset="0"/>
              </a:rPr>
              <a:t>8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тыс. рублей)</a:t>
            </a:r>
            <a:endParaRPr kumimoji="0" lang="ru-RU" sz="2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26" name="Picture 2" descr="C:\Users\finupr\Desktop\6d72e130099c2e25a1c5e93beca60f94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4800" y="1981201"/>
            <a:ext cx="2819400" cy="1676399"/>
          </a:xfrm>
          <a:prstGeom prst="rect">
            <a:avLst/>
          </a:prstGeom>
          <a:noFill/>
        </p:spPr>
      </p:pic>
      <p:sp>
        <p:nvSpPr>
          <p:cNvPr id="16" name="Содержимое 2"/>
          <p:cNvSpPr txBox="1">
            <a:spLocks/>
          </p:cNvSpPr>
          <p:nvPr/>
        </p:nvSpPr>
        <p:spPr>
          <a:xfrm>
            <a:off x="152401" y="5257800"/>
            <a:ext cx="2971799" cy="120032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spcBef>
                <a:spcPct val="20000"/>
              </a:spcBef>
              <a:buClr>
                <a:schemeClr val="accent1"/>
              </a:buClr>
              <a:buSzPct val="70000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Установление периметральное ограждение в двух образовательных организациях  (МКОУ СОШ № 16 г. Бирюсинска и МКОУ СОШ № 85 г. Тайшета) – объем средств в сумме 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3 775,0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тыс. рублей</a:t>
            </a:r>
            <a:endParaRPr kumimoji="0" lang="ru-RU" sz="2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Содержимое 2"/>
          <p:cNvSpPr txBox="1">
            <a:spLocks/>
          </p:cNvSpPr>
          <p:nvPr/>
        </p:nvSpPr>
        <p:spPr>
          <a:xfrm>
            <a:off x="5715000" y="3810000"/>
            <a:ext cx="3352800" cy="83099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lvl="0" algn="ctr">
              <a:spcBef>
                <a:spcPct val="20000"/>
              </a:spcBef>
              <a:buClr>
                <a:schemeClr val="accent1"/>
              </a:buClr>
              <a:buSzPct val="70000"/>
              <a:defRPr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риобретение  учебно-наглядного оборудования, оборудования и материалов в образовательные организации (объем средств в сумме 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354,0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тыс. рублей)</a:t>
            </a:r>
            <a:endParaRPr kumimoji="0" lang="ru-RU" sz="2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27" name="Picture 3" descr="C:\Users\finupr\Desktop\c92965defe7b74c90f597479d5729239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867400" y="4724400"/>
            <a:ext cx="2895600" cy="1676400"/>
          </a:xfrm>
          <a:prstGeom prst="rect">
            <a:avLst/>
          </a:prstGeom>
          <a:noFill/>
        </p:spPr>
      </p:pic>
      <p:pic>
        <p:nvPicPr>
          <p:cNvPr id="1028" name="Picture 4" descr="C:\Users\finupr\Desktop\6b33d3feb01f2627df4e52c5942588a0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429000" y="4495800"/>
            <a:ext cx="2133600" cy="2057400"/>
          </a:xfrm>
          <a:prstGeom prst="rect">
            <a:avLst/>
          </a:prstGeom>
          <a:noFill/>
        </p:spPr>
      </p:pic>
      <p:pic>
        <p:nvPicPr>
          <p:cNvPr id="1029" name="Picture 5" descr="C:\Users\finupr\Desktop\ccc2d05ea74c86f6d6485cd131548292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943600" y="1905000"/>
            <a:ext cx="2667000" cy="17526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152400"/>
            <a:ext cx="8077200" cy="533400"/>
          </a:xfrm>
          <a:solidFill>
            <a:schemeClr val="bg1"/>
          </a:solidFill>
          <a:ln>
            <a:solidFill>
              <a:srgbClr val="00B050"/>
            </a:solidFill>
          </a:ln>
          <a:effectLst>
            <a:outerShdw blurRad="50800" dist="50800" dir="5400000" algn="ctr" rotWithShape="0">
              <a:schemeClr val="bg1"/>
            </a:outerShdw>
          </a:effectLst>
          <a:scene3d>
            <a:camera prst="orthographicFront"/>
            <a:lightRig rig="threePt" dir="t"/>
          </a:scene3d>
          <a:sp3d/>
        </p:spPr>
        <p:txBody>
          <a:bodyPr tIns="0">
            <a:normAutofit/>
          </a:bodyPr>
          <a:lstStyle/>
          <a:p>
            <a:pPr algn="ctr"/>
            <a:r>
              <a:rPr lang="ru-RU" sz="1600" cap="all" dirty="0" smtClean="0">
                <a:ln/>
                <a:solidFill>
                  <a:srgbClr val="7030A0"/>
                </a:solidFill>
                <a:effectLst/>
              </a:rPr>
              <a:t>Муниципальная</a:t>
            </a:r>
            <a:r>
              <a:rPr lang="ru-RU" sz="1600" cap="all" dirty="0" smtClean="0">
                <a:ln/>
                <a:solidFill>
                  <a:srgbClr val="7030A0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> программа  муниципального образования «Тайшетский район»«Развитие культуры» на 2015 – 2019 годы </a:t>
            </a:r>
            <a:endParaRPr lang="ru-RU" sz="1600" dirty="0">
              <a:solidFill>
                <a:srgbClr val="7030A0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</a:effectLst>
            </a:endParaRPr>
          </a:p>
        </p:txBody>
      </p:sp>
      <p:sp>
        <p:nvSpPr>
          <p:cNvPr id="9" name="Заголовок 1"/>
          <p:cNvSpPr txBox="1">
            <a:spLocks noGrp="1"/>
          </p:cNvSpPr>
          <p:nvPr>
            <p:ph idx="1"/>
          </p:nvPr>
        </p:nvSpPr>
        <p:spPr>
          <a:xfrm>
            <a:off x="2819400" y="4038601"/>
            <a:ext cx="6172200" cy="3810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Финансовое обеспечение реализации муниципальной программы «Развитие культуры» за 2017 год</a:t>
            </a:r>
            <a:endParaRPr kumimoji="0" lang="ru-RU" sz="12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762000" y="914400"/>
            <a:ext cx="5791200" cy="990600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latin typeface="Palatino Linotype" pitchFamily="18" charset="0"/>
              </a:rPr>
              <a:t>Цели программы – развитие культурного потенциала личности и общества в целом, обеспечение максимальной вовлеченности населения в систематические занятия физкультурой и спортом, обеспечение успешной социализации и эффективной самореализации молодежи, профилактика правонарушений и преступлений на территории Тайшетского района</a:t>
            </a:r>
            <a:endParaRPr lang="ru-RU" sz="1200" b="1" dirty="0" smtClean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Palatino Linotype" pitchFamily="18" charset="0"/>
            </a:endParaRPr>
          </a:p>
        </p:txBody>
      </p:sp>
      <p:sp>
        <p:nvSpPr>
          <p:cNvPr id="6" name="Содержимое 2"/>
          <p:cNvSpPr txBox="1">
            <a:spLocks/>
          </p:cNvSpPr>
          <p:nvPr/>
        </p:nvSpPr>
        <p:spPr>
          <a:xfrm>
            <a:off x="152400" y="1981200"/>
            <a:ext cx="8839200" cy="1905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>
            <a:normAutofit lnSpcReduction="10000"/>
          </a:bodyPr>
          <a:lstStyle/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Для достижения цели Программы определены следующие задачи: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Формирование культурного потенциала</a:t>
            </a:r>
            <a:r>
              <a:rPr kumimoji="0" lang="ru-RU" sz="11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личности и общества в целом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Создание условий максимальной вовлеченности населения в систематические занятия физкультурой и спортом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Создание условий успешной социализации и эффективной</a:t>
            </a:r>
            <a:r>
              <a:rPr kumimoji="0" lang="ru-RU" sz="11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самореализации молодежи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lang="ru-RU" sz="1100" baseline="0" dirty="0" smtClean="0"/>
              <a:t>Повышение эффективности профилактической работы по предупреждению</a:t>
            </a:r>
            <a:r>
              <a:rPr lang="ru-RU" sz="1100" dirty="0" smtClean="0"/>
              <a:t> правонарушений и преступлений, в том числе террористической направленности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lang="ru-RU" sz="1100" dirty="0" smtClean="0"/>
              <a:t>Обеспечение эффективности и результативности расходования бюджетных средств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lang="ru-RU" sz="1100" dirty="0" smtClean="0"/>
              <a:t>Создание условий для качественного отдыха и оздоровления детей в каникулярное время.</a:t>
            </a:r>
          </a:p>
          <a:p>
            <a:pPr marL="274320" indent="-274320" algn="just">
              <a:spcBef>
                <a:spcPct val="20000"/>
              </a:spcBef>
              <a:buClr>
                <a:schemeClr val="accent3"/>
              </a:buClr>
              <a:buSzPct val="95000"/>
              <a:buFont typeface="Wingdings" pitchFamily="2" charset="2"/>
              <a:buChar char="Ø"/>
              <a:defRPr/>
            </a:pPr>
            <a:r>
              <a:rPr lang="ru-RU" sz="1100" dirty="0" smtClean="0"/>
              <a:t>Сокращение масштабов немедицинского потребления наркотических и психотропных веществ, формирование негативного отношения к незаконному обороту и потреблению наркотиков и существенное снижение спроса на них.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endParaRPr lang="ru-RU" sz="1200" dirty="0" smtClean="0"/>
          </a:p>
        </p:txBody>
      </p:sp>
      <p:pic>
        <p:nvPicPr>
          <p:cNvPr id="13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10" name="Заголовок 1"/>
          <p:cNvSpPr txBox="1">
            <a:spLocks/>
          </p:cNvSpPr>
          <p:nvPr/>
        </p:nvSpPr>
        <p:spPr>
          <a:xfrm>
            <a:off x="7696200" y="4419600"/>
            <a:ext cx="1371600" cy="3048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Тыс. рублей</a:t>
            </a:r>
            <a:endParaRPr kumimoji="0" lang="ru-RU" sz="8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11" name="Содержимое 17"/>
          <p:cNvGraphicFramePr>
            <a:graphicFrameLocks/>
          </p:cNvGraphicFramePr>
          <p:nvPr/>
        </p:nvGraphicFramePr>
        <p:xfrm>
          <a:off x="2743200" y="4724402"/>
          <a:ext cx="6248400" cy="1981199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562100"/>
                <a:gridCol w="1562100"/>
                <a:gridCol w="1562100"/>
                <a:gridCol w="1562100"/>
              </a:tblGrid>
              <a:tr h="380355"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План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Факт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Исполнение, %</a:t>
                      </a:r>
                      <a:endParaRPr lang="ru-RU" sz="1400" dirty="0"/>
                    </a:p>
                  </a:txBody>
                  <a:tcPr/>
                </a:tc>
              </a:tr>
              <a:tr h="35746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Всего расходов</a:t>
                      </a:r>
                      <a:endParaRPr lang="ru-RU" sz="12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37 549</a:t>
                      </a:r>
                      <a:r>
                        <a:rPr lang="ru-RU" sz="1200" dirty="0" smtClean="0"/>
                        <a:t>,</a:t>
                      </a:r>
                      <a:r>
                        <a:rPr lang="en-US" sz="1200" dirty="0" smtClean="0"/>
                        <a:t>5</a:t>
                      </a:r>
                      <a:endParaRPr lang="ru-RU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dirty="0" smtClean="0"/>
                        <a:t>135</a:t>
                      </a:r>
                      <a:r>
                        <a:rPr lang="en-US" sz="1200" b="0" baseline="0" dirty="0" smtClean="0"/>
                        <a:t> 544</a:t>
                      </a:r>
                      <a:r>
                        <a:rPr lang="ru-RU" sz="1200" b="0" baseline="0" dirty="0" smtClean="0"/>
                        <a:t>,</a:t>
                      </a:r>
                      <a:r>
                        <a:rPr lang="en-US" sz="1200" b="0" baseline="0" dirty="0" smtClean="0"/>
                        <a:t>2</a:t>
                      </a:r>
                      <a:endParaRPr lang="ru-RU" sz="12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98,5</a:t>
                      </a:r>
                      <a:endParaRPr lang="ru-RU" sz="1200" b="1" dirty="0"/>
                    </a:p>
                  </a:txBody>
                  <a:tcPr/>
                </a:tc>
              </a:tr>
              <a:tr h="536197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Федеральный бюджет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503,7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503,7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00,0</a:t>
                      </a:r>
                      <a:endParaRPr lang="ru-RU" sz="1200" dirty="0"/>
                    </a:p>
                  </a:txBody>
                  <a:tcPr/>
                </a:tc>
              </a:tr>
              <a:tr h="342319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Областной бюджет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</a:t>
                      </a:r>
                      <a:r>
                        <a:rPr lang="ru-RU" sz="1200" baseline="0" dirty="0" smtClean="0"/>
                        <a:t> 418,0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</a:t>
                      </a:r>
                      <a:r>
                        <a:rPr lang="ru-RU" sz="1200" baseline="0" dirty="0" smtClean="0"/>
                        <a:t> 418,0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00,0</a:t>
                      </a:r>
                      <a:endParaRPr lang="ru-RU" sz="1200" dirty="0"/>
                    </a:p>
                  </a:txBody>
                  <a:tcPr/>
                </a:tc>
              </a:tr>
              <a:tr h="364864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Районный бюджет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 135 627,8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33 622,5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98,5</a:t>
                      </a:r>
                      <a:endParaRPr lang="ru-RU" sz="12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2" name="Скругленный прямоугольник 11"/>
          <p:cNvSpPr/>
          <p:nvPr/>
        </p:nvSpPr>
        <p:spPr>
          <a:xfrm>
            <a:off x="6629400" y="914400"/>
            <a:ext cx="2514600" cy="914400"/>
          </a:xfrm>
          <a:prstGeom prst="roundRect">
            <a:avLst/>
          </a:prstGeom>
          <a:solidFill>
            <a:srgbClr val="FFFF99"/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latin typeface="Palatino Linotype" pitchFamily="18" charset="0"/>
              </a:rPr>
              <a:t>Ответственный исполнитель Программы – Управление образования администрации Тайшетского района</a:t>
            </a:r>
            <a:endParaRPr lang="ru-RU" sz="1000" b="1" dirty="0" smtClean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Palatino Linotype" pitchFamily="18" charset="0"/>
            </a:endParaRPr>
          </a:p>
        </p:txBody>
      </p:sp>
      <p:pic>
        <p:nvPicPr>
          <p:cNvPr id="6146" name="Picture 2" descr="C:\Users\finupr\Desktop\festival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2401" y="4267200"/>
            <a:ext cx="2514600" cy="24384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228600"/>
            <a:ext cx="7924800" cy="685800"/>
          </a:xfrm>
          <a:solidFill>
            <a:schemeClr val="bg1"/>
          </a:solidFill>
          <a:ln>
            <a:solidFill>
              <a:srgbClr val="00B050"/>
            </a:solidFill>
          </a:ln>
        </p:spPr>
        <p:txBody>
          <a:bodyPr anchor="ctr" anchorCtr="1">
            <a:normAutofit/>
          </a:bodyPr>
          <a:lstStyle/>
          <a:p>
            <a:pPr algn="ctr"/>
            <a:r>
              <a:rPr lang="ru-RU" sz="1600" dirty="0" smtClean="0">
                <a:solidFill>
                  <a:srgbClr val="7030A0"/>
                </a:solidFill>
                <a:effectLst/>
              </a:rPr>
              <a:t>Финансовое обеспечение реализации муниципальной программы «Развитие культуры» за 201</a:t>
            </a:r>
            <a:r>
              <a:rPr lang="en-US" sz="1600" dirty="0" smtClean="0">
                <a:solidFill>
                  <a:srgbClr val="7030A0"/>
                </a:solidFill>
                <a:effectLst/>
              </a:rPr>
              <a:t>7</a:t>
            </a:r>
            <a:r>
              <a:rPr lang="ru-RU" sz="1600" dirty="0" smtClean="0">
                <a:solidFill>
                  <a:srgbClr val="7030A0"/>
                </a:solidFill>
                <a:effectLst/>
              </a:rPr>
              <a:t> год</a:t>
            </a:r>
            <a:endParaRPr lang="ru-RU" sz="1600" dirty="0">
              <a:solidFill>
                <a:srgbClr val="7030A0"/>
              </a:solidFill>
              <a:effectLst/>
            </a:endParaRPr>
          </a:p>
        </p:txBody>
      </p:sp>
      <p:graphicFrame>
        <p:nvGraphicFramePr>
          <p:cNvPr id="4" name="Содержимое 3"/>
          <p:cNvGraphicFramePr>
            <a:graphicFrameLocks noGrp="1"/>
          </p:cNvGraphicFramePr>
          <p:nvPr>
            <p:ph idx="1"/>
          </p:nvPr>
        </p:nvGraphicFramePr>
        <p:xfrm>
          <a:off x="152400" y="1219200"/>
          <a:ext cx="8610600" cy="5486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5" name="Picture 2" descr="C:\Users\finupr\Desktop\gerb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3" name="Заголовок 1"/>
          <p:cNvSpPr txBox="1">
            <a:spLocks/>
          </p:cNvSpPr>
          <p:nvPr/>
        </p:nvSpPr>
        <p:spPr>
          <a:xfrm>
            <a:off x="1143000" y="152400"/>
            <a:ext cx="7848600" cy="5334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anchor="ctr" anchorCtr="1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Реализация муниципальной программы «Развитие культуры» за 201</a:t>
            </a:r>
            <a:r>
              <a:rPr kumimoji="0" lang="en-US" sz="16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7</a:t>
            </a:r>
            <a:r>
              <a:rPr kumimoji="0" lang="ru-RU" sz="16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год</a:t>
            </a:r>
            <a:endParaRPr kumimoji="0" lang="ru-RU" sz="16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4" name="Содержимое 3"/>
          <p:cNvGraphicFramePr>
            <a:graphicFrameLocks/>
          </p:cNvGraphicFramePr>
          <p:nvPr/>
        </p:nvGraphicFramePr>
        <p:xfrm>
          <a:off x="304800" y="1143001"/>
          <a:ext cx="8686800" cy="25990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6019800"/>
                <a:gridCol w="609600"/>
                <a:gridCol w="685800"/>
                <a:gridCol w="609600"/>
                <a:gridCol w="762000"/>
              </a:tblGrid>
              <a:tr h="452887">
                <a:tc>
                  <a:txBody>
                    <a:bodyPr/>
                    <a:lstStyle/>
                    <a:p>
                      <a:pPr algn="ctr"/>
                      <a:r>
                        <a:rPr kumimoji="0" lang="ru-RU" sz="1200" kern="1200" dirty="0" smtClean="0"/>
                        <a:t>Основные</a:t>
                      </a:r>
                      <a:r>
                        <a:rPr kumimoji="0" lang="ru-RU" sz="1200" kern="1200" baseline="0" dirty="0" smtClean="0"/>
                        <a:t> </a:t>
                      </a:r>
                      <a:r>
                        <a:rPr kumimoji="0" lang="ru-RU" sz="1200" kern="1200" dirty="0" smtClean="0"/>
                        <a:t>целевые</a:t>
                      </a:r>
                      <a:r>
                        <a:rPr kumimoji="0" lang="ru-RU" sz="1200" kern="1200" baseline="0" dirty="0" smtClean="0"/>
                        <a:t> </a:t>
                      </a:r>
                      <a:r>
                        <a:rPr kumimoji="0" lang="ru-RU" sz="1200" kern="1200" dirty="0" smtClean="0"/>
                        <a:t>показатели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ru-RU" sz="1200" kern="1200" dirty="0" smtClean="0"/>
                        <a:t>Ед. </a:t>
                      </a:r>
                      <a:r>
                        <a:rPr kumimoji="0" lang="ru-RU" sz="1200" kern="1200" dirty="0" err="1" smtClean="0"/>
                        <a:t>изм</a:t>
                      </a:r>
                      <a:r>
                        <a:rPr kumimoji="0" lang="ru-RU" sz="1200" kern="1200" dirty="0" smtClean="0"/>
                        <a:t>.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</a:t>
                      </a:r>
                      <a:r>
                        <a:rPr lang="en-US" sz="1200" dirty="0" smtClean="0"/>
                        <a:t>6</a:t>
                      </a:r>
                      <a:r>
                        <a:rPr lang="ru-RU" sz="1200" dirty="0" smtClean="0"/>
                        <a:t> (факт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</a:t>
                      </a:r>
                      <a:r>
                        <a:rPr lang="en-US" sz="1200" dirty="0" smtClean="0"/>
                        <a:t>7</a:t>
                      </a:r>
                      <a:r>
                        <a:rPr lang="ru-RU" sz="1200" dirty="0" smtClean="0"/>
                        <a:t> (план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</a:t>
                      </a:r>
                      <a:r>
                        <a:rPr lang="en-US" sz="1200" dirty="0" smtClean="0"/>
                        <a:t>7</a:t>
                      </a:r>
                      <a:r>
                        <a:rPr lang="ru-RU" sz="1200" dirty="0" smtClean="0"/>
                        <a:t> (факт)</a:t>
                      </a:r>
                      <a:endParaRPr lang="ru-RU" sz="1200" dirty="0"/>
                    </a:p>
                  </a:txBody>
                  <a:tcPr/>
                </a:tc>
              </a:tr>
              <a:tr h="407598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 участников культурно-досуговых мероприятий 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чел.</a:t>
                      </a: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17 726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400" marR="6840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0 752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11</a:t>
                      </a:r>
                      <a:r>
                        <a:rPr lang="en-US" sz="12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670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400" marR="68400" marT="0" marB="0" anchor="ctr"/>
                </a:tc>
              </a:tr>
              <a:tr h="385097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Количество пользователей библиотек</a:t>
                      </a:r>
                      <a:endParaRPr lang="ru-RU" sz="110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чел.</a:t>
                      </a: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2 084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400" marR="6840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 995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2 0</a:t>
                      </a:r>
                      <a:r>
                        <a:rPr lang="en-US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10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400" marR="68400" marT="0" marB="0" anchor="ctr"/>
                </a:tc>
              </a:tr>
              <a:tr h="385097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 посетителей музейных учреждений </a:t>
                      </a:r>
                      <a:endParaRPr lang="ru-RU" sz="11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чел.</a:t>
                      </a: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17 357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400" marR="6840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7</a:t>
                      </a:r>
                      <a:r>
                        <a:rPr lang="en-US" sz="1200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 357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17 </a:t>
                      </a:r>
                      <a:r>
                        <a:rPr lang="en-US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600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400" marR="68400" marT="0" marB="0" anchor="ctr"/>
                </a:tc>
              </a:tr>
              <a:tr h="54346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Удельный вес населения муниципального образования "Тайшетский район", систематически занимающегося физической культурой и спортом 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%</a:t>
                      </a: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ru-RU" sz="12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14,5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400" marR="6840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  <a:r>
                        <a:rPr lang="en-US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6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ru-RU" sz="12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r>
                        <a:rPr lang="en-US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6.1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400" marR="68400" marT="0" marB="0"/>
                </a:tc>
              </a:tr>
              <a:tr h="416656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Общее количество молодых людей в возрасте от 14 до 30 лет, задействованных в реализации программы 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чел.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6 293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400" marR="6840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7</a:t>
                      </a:r>
                      <a:r>
                        <a:rPr lang="en-US" sz="1200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 00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en-US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8</a:t>
                      </a:r>
                      <a:r>
                        <a:rPr lang="en-US" sz="12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132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400" marR="68400" marT="0" marB="0" anchor="ctr"/>
                </a:tc>
              </a:tr>
            </a:tbl>
          </a:graphicData>
        </a:graphic>
      </p:graphicFrame>
      <p:sp>
        <p:nvSpPr>
          <p:cNvPr id="7" name="Содержимое 2"/>
          <p:cNvSpPr txBox="1">
            <a:spLocks/>
          </p:cNvSpPr>
          <p:nvPr/>
        </p:nvSpPr>
        <p:spPr>
          <a:xfrm>
            <a:off x="3124200" y="3886200"/>
            <a:ext cx="3276600" cy="2667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normAutofit fontScale="77500" lnSpcReduction="20000"/>
          </a:bodyPr>
          <a:lstStyle/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v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Учреждение культуры МРДК «Юбилейный» создает все условия для развития местного  традиционного народного творчества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, активно проводит мероприятия межпоселенческого характера по работе с детьми и молодежью.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В учреждении работает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42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объединения, которые посещают 1 239 человек, из них для детей в возрасте до 14 лет – 11 клубных объединения, которые посещают 335 детей, для молодежи от 15 до 24 лет – 10 клубных объединения, которые посещают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602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человека. 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v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В 2017 году проведено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2</a:t>
            </a: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2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3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общественно – значимых мероприятия (праздничные концерты, конкурсы, выставки). Мероприятия посетили    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11 670 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человек.</a:t>
            </a:r>
          </a:p>
        </p:txBody>
      </p:sp>
      <p:pic>
        <p:nvPicPr>
          <p:cNvPr id="2050" name="Picture 2" descr="C:\Documents and Settings\Admin\Рабочий стол\3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553200" y="3962400"/>
            <a:ext cx="2438400" cy="2514600"/>
          </a:xfrm>
          <a:prstGeom prst="rect">
            <a:avLst/>
          </a:prstGeom>
          <a:noFill/>
        </p:spPr>
      </p:pic>
      <p:pic>
        <p:nvPicPr>
          <p:cNvPr id="2051" name="Picture 3" descr="C:\Documents and Settings\Admin\Рабочий стол\image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4801" y="4038600"/>
            <a:ext cx="2666999" cy="22860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1143000" y="152400"/>
            <a:ext cx="7848600" cy="533400"/>
          </a:xfrm>
          <a:solidFill>
            <a:schemeClr val="bg1"/>
          </a:solidFill>
          <a:ln>
            <a:solidFill>
              <a:srgbClr val="00B050"/>
            </a:solidFill>
          </a:ln>
        </p:spPr>
        <p:txBody>
          <a:bodyPr anchor="ctr" anchorCtr="1">
            <a:normAutofit/>
          </a:bodyPr>
          <a:lstStyle/>
          <a:p>
            <a:pPr algn="ctr"/>
            <a:r>
              <a:rPr lang="ru-RU" sz="1600" dirty="0" smtClean="0">
                <a:solidFill>
                  <a:srgbClr val="7030A0"/>
                </a:solidFill>
                <a:effectLst/>
              </a:rPr>
              <a:t>Реализация муниципальной программы «Развитие культуры» за 2017 год</a:t>
            </a:r>
            <a:endParaRPr lang="ru-RU" sz="1600" dirty="0">
              <a:solidFill>
                <a:srgbClr val="7030A0"/>
              </a:solidFill>
              <a:effectLst/>
            </a:endParaRPr>
          </a:p>
        </p:txBody>
      </p:sp>
      <p:pic>
        <p:nvPicPr>
          <p:cNvPr id="1029" name="Picture 5" descr="C:\Users\finupr\Desktop\142017960712d2a8a49cbd79cd0245fe31dcf91f99a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400800" y="1371600"/>
            <a:ext cx="2438400" cy="2057400"/>
          </a:xfrm>
          <a:prstGeom prst="rect">
            <a:avLst/>
          </a:prstGeom>
          <a:noFill/>
        </p:spPr>
      </p:pic>
      <p:sp>
        <p:nvSpPr>
          <p:cNvPr id="12" name="Содержимое 2"/>
          <p:cNvSpPr txBox="1">
            <a:spLocks/>
          </p:cNvSpPr>
          <p:nvPr/>
        </p:nvSpPr>
        <p:spPr>
          <a:xfrm>
            <a:off x="685800" y="1143000"/>
            <a:ext cx="4648200" cy="25908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>
            <a:normAutofit lnSpcReduction="10000"/>
          </a:bodyPr>
          <a:lstStyle/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v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На территории района осуществляет свою деятельность МКУК «Межпоселенческая библиотечная система  Тайшетского района» . В 2017 году количество пользователей  библиотек составило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2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010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человек. Приобретено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228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экземпляров книг на сумму 37,9 тыс. рублей в рамках комплектования книжных фондов библиотек муниципального образования.</a:t>
            </a:r>
          </a:p>
          <a:p>
            <a:pPr marL="342900" indent="-342900" algn="just">
              <a:spcBef>
                <a:spcPct val="20000"/>
              </a:spcBef>
              <a:buClr>
                <a:schemeClr val="accent1"/>
              </a:buClr>
              <a:buSzPct val="70000"/>
              <a:buFont typeface="Wingdings" pitchFamily="2" charset="2"/>
              <a:buChar char="v"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На территории района осуществляют свою деятельность   2 краеведческих музея,  которые в 2017 году  посетили   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17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600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человек, в том числе посетителей выставок   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11 606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человек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.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v"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14" name="Содержимое 2"/>
          <p:cNvSpPr txBox="1">
            <a:spLocks/>
          </p:cNvSpPr>
          <p:nvPr/>
        </p:nvSpPr>
        <p:spPr>
          <a:xfrm>
            <a:off x="3276600" y="4038600"/>
            <a:ext cx="3124200" cy="24384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>
            <a:normAutofit fontScale="92500" lnSpcReduction="20000"/>
          </a:bodyPr>
          <a:lstStyle/>
          <a:p>
            <a:pPr marL="342900" indent="-342900" algn="just">
              <a:spcBef>
                <a:spcPct val="20000"/>
              </a:spcBef>
              <a:buClr>
                <a:schemeClr val="accent1"/>
              </a:buClr>
              <a:buSzPct val="70000"/>
              <a:buFont typeface="Wingdings" pitchFamily="2" charset="2"/>
              <a:buChar char="v"/>
              <a:defRPr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В 5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учреждениях дополнительного образования в области искусств (3 детские музыкальные школы, детская художественная школа, школа искусств г. Бирюсинска)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9</a:t>
            </a:r>
            <a:r>
              <a:rPr lang="en-US" sz="1400" b="1" dirty="0" smtClean="0">
                <a:latin typeface="Times New Roman" pitchFamily="18" charset="0"/>
                <a:cs typeface="Times New Roman" pitchFamily="18" charset="0"/>
              </a:rPr>
              <a:t>26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обучающихся. Создано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88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групп (кружков). Учащиеся школ принимали участие в районных конкурсных мероприятиях, в территориальных конкурсах творческих работ, в региональных конкурсах-фестивалях детского художественного творчества.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v"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pic>
        <p:nvPicPr>
          <p:cNvPr id="7170" name="Picture 2" descr="C:\Users\finupr\Desktop\IMG00059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85775" y="3962400"/>
            <a:ext cx="2486025" cy="2438400"/>
          </a:xfrm>
          <a:prstGeom prst="rect">
            <a:avLst/>
          </a:prstGeom>
          <a:noFill/>
        </p:spPr>
      </p:pic>
      <p:pic>
        <p:nvPicPr>
          <p:cNvPr id="7171" name="Picture 3" descr="C:\Users\finupr\Desktop\bigstock-School-children-play-musical-i-90362945_-_kopiya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553200" y="4267200"/>
            <a:ext cx="2189162" cy="16764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990600" y="228600"/>
            <a:ext cx="8001000" cy="533400"/>
          </a:xfrm>
          <a:solidFill>
            <a:schemeClr val="bg1"/>
          </a:solidFill>
          <a:ln>
            <a:solidFill>
              <a:srgbClr val="00B050"/>
            </a:solidFill>
          </a:ln>
        </p:spPr>
        <p:txBody>
          <a:bodyPr anchor="ctr" anchorCtr="1">
            <a:normAutofit/>
          </a:bodyPr>
          <a:lstStyle/>
          <a:p>
            <a:pPr algn="ctr"/>
            <a:r>
              <a:rPr lang="ru-RU" sz="1600" dirty="0" smtClean="0">
                <a:solidFill>
                  <a:srgbClr val="7030A0"/>
                </a:solidFill>
                <a:effectLst/>
              </a:rPr>
              <a:t>Реализация муниципальной программы «Развитие культуры» за 2017 год</a:t>
            </a:r>
            <a:endParaRPr lang="ru-RU" sz="1600" dirty="0">
              <a:solidFill>
                <a:srgbClr val="7030A0"/>
              </a:solidFill>
              <a:effectLst/>
            </a:endParaRPr>
          </a:p>
        </p:txBody>
      </p:sp>
      <p:sp>
        <p:nvSpPr>
          <p:cNvPr id="7" name="Содержимое 2"/>
          <p:cNvSpPr txBox="1">
            <a:spLocks noGrp="1"/>
          </p:cNvSpPr>
          <p:nvPr>
            <p:ph idx="1"/>
          </p:nvPr>
        </p:nvSpPr>
        <p:spPr>
          <a:xfrm>
            <a:off x="228600" y="3733800"/>
            <a:ext cx="2667000" cy="271458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0" indent="0" algn="just">
              <a:buClr>
                <a:schemeClr val="accent1"/>
              </a:buClr>
              <a:buSzPct val="70000"/>
              <a:buNone/>
            </a:pPr>
            <a:r>
              <a:rPr kumimoji="0" lang="ru-RU" sz="120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Приобретение звукового оборудования, театральных кресел в МКУК </a:t>
            </a:r>
            <a:r>
              <a:rPr lang="ru-RU" sz="1200" dirty="0" err="1" smtClean="0">
                <a:latin typeface="Times New Roman" pitchFamily="18" charset="0"/>
                <a:cs typeface="Times New Roman" pitchFamily="18" charset="0"/>
              </a:rPr>
              <a:t>ЦКиД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«Надежда» г. Бирюсинска (структурное подразделение МБУК МРДК «Юбилейный» в</a:t>
            </a:r>
            <a:r>
              <a:rPr kumimoji="0" lang="ru-RU" sz="120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 рамках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реализации мероприятий, связанных с развитием и укреплением материально-технической базы муниципальных домов культуры государственной </a:t>
            </a:r>
            <a:r>
              <a:rPr kumimoji="0" lang="ru-RU" sz="120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программы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"Развитие культуры" на 2014 - 2020 годы</a:t>
            </a:r>
            <a:r>
              <a:rPr kumimoji="0" lang="ru-RU" sz="120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 в сумме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1 627,6 </a:t>
            </a:r>
            <a:r>
              <a:rPr kumimoji="0" lang="ru-RU" sz="120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тыс. рублей.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v"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6" name="Содержимое 2"/>
          <p:cNvSpPr txBox="1">
            <a:spLocks/>
          </p:cNvSpPr>
          <p:nvPr/>
        </p:nvSpPr>
        <p:spPr>
          <a:xfrm>
            <a:off x="5257800" y="3505200"/>
            <a:ext cx="3733800" cy="3048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>
            <a:no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ü"/>
              <a:tabLst/>
              <a:defRPr/>
            </a:pPr>
            <a:r>
              <a:rPr lang="ru-RU" sz="1200" noProof="0" dirty="0" smtClean="0">
                <a:latin typeface="Times New Roman" pitchFamily="18" charset="0"/>
                <a:cs typeface="Times New Roman" pitchFamily="18" charset="0"/>
              </a:rPr>
              <a:t>Проведено  </a:t>
            </a:r>
            <a:r>
              <a:rPr lang="ru-RU" sz="1200" b="1" noProof="0" dirty="0" smtClean="0">
                <a:latin typeface="Times New Roman" pitchFamily="18" charset="0"/>
                <a:cs typeface="Times New Roman" pitchFamily="18" charset="0"/>
              </a:rPr>
              <a:t>29</a:t>
            </a:r>
            <a:r>
              <a:rPr lang="ru-RU" sz="1200" noProof="0" dirty="0" smtClean="0">
                <a:latin typeface="Times New Roman" pitchFamily="18" charset="0"/>
                <a:cs typeface="Times New Roman" pitchFamily="18" charset="0"/>
              </a:rPr>
              <a:t> мероприятий по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работе </a:t>
            </a:r>
            <a:r>
              <a:rPr lang="ru-RU" sz="1200" noProof="0" dirty="0" smtClean="0">
                <a:latin typeface="Times New Roman" pitchFamily="18" charset="0"/>
                <a:cs typeface="Times New Roman" pitchFamily="18" charset="0"/>
              </a:rPr>
              <a:t>с молодежью района. Мероприятия направлены на вовлечение молодежи в общественную жизнь района, гражданско-патриотическое воспитание, формирование активной жизненной позиции,  Число участников в них составило     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8 132 </a:t>
            </a:r>
            <a:r>
              <a:rPr lang="ru-RU" sz="1200" noProof="0" dirty="0" smtClean="0">
                <a:latin typeface="Times New Roman" pitchFamily="18" charset="0"/>
                <a:cs typeface="Times New Roman" pitchFamily="18" charset="0"/>
              </a:rPr>
              <a:t>человека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ü"/>
              <a:tabLst/>
              <a:defRPr/>
            </a:pPr>
            <a:r>
              <a:rPr kumimoji="0" lang="ru-RU" sz="1200" b="0" i="0" u="none" strike="noStrike" kern="1200" cap="none" spc="0" normalizeH="0" baseline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Проведено </a:t>
            </a:r>
            <a:r>
              <a:rPr kumimoji="0" lang="ru-RU" sz="1200" b="1" i="0" u="none" strike="noStrike" kern="1200" cap="none" spc="0" normalizeH="0" baseline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28</a:t>
            </a:r>
            <a:r>
              <a:rPr kumimoji="0" lang="ru-RU" sz="1200" b="0" i="0" u="none" strike="noStrike" kern="1200" cap="none" spc="0" normalizeH="0" baseline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 мероприятий в</a:t>
            </a:r>
            <a:r>
              <a:rPr kumimoji="0" lang="ru-RU" sz="1200" b="0" i="0" u="none" strike="noStrike" kern="1200" cap="none" spc="0" normalizeH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условиях</a:t>
            </a:r>
            <a:r>
              <a:rPr kumimoji="0" lang="ru-RU" sz="1200" b="0" i="0" u="none" strike="noStrike" kern="1200" cap="none" spc="0" normalizeH="0" baseline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рофилактических работ по предупреждению правонарушений и преступлений. Число участников в них составило 583 человека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ü"/>
              <a:tabLst/>
              <a:defRPr/>
            </a:pPr>
            <a:r>
              <a:rPr kumimoji="0" lang="ru-RU" sz="120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Проведено 2 акции, направленных на пропаганду здорового образа жизни, 31 профилактическое антинаркотическое</a:t>
            </a:r>
            <a:r>
              <a:rPr kumimoji="0" lang="ru-RU" sz="120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 мероприятие , </a:t>
            </a:r>
            <a:r>
              <a:rPr kumimoji="0" lang="ru-RU" sz="120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в которых приняли участие 3 885 человек.</a:t>
            </a:r>
            <a:endParaRPr kumimoji="0" lang="ru-RU" sz="1200" i="0" u="none" strike="noStrike" kern="1200" cap="none" spc="0" normalizeH="0" baseline="0" noProof="0" dirty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Содержимое 2"/>
          <p:cNvSpPr txBox="1">
            <a:spLocks/>
          </p:cNvSpPr>
          <p:nvPr/>
        </p:nvSpPr>
        <p:spPr>
          <a:xfrm>
            <a:off x="228600" y="1295400"/>
            <a:ext cx="5257800" cy="1905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>
            <a:normAutofit lnSpcReduction="10000"/>
          </a:bodyPr>
          <a:lstStyle/>
          <a:p>
            <a:pPr marL="342900" lvl="0" indent="-342900" algn="just">
              <a:spcBef>
                <a:spcPct val="20000"/>
              </a:spcBef>
              <a:buClr>
                <a:schemeClr val="accent1"/>
              </a:buClr>
              <a:buSzPct val="70000"/>
              <a:buFont typeface="Wingdings" pitchFamily="2" charset="2"/>
              <a:buChar char="v"/>
              <a:defRPr/>
            </a:pPr>
            <a:r>
              <a:rPr kumimoji="0" lang="ru-RU" sz="120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Дополнительное образование в сфере физической культуры и спорта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осуществляется в 2 детско-юношеских спортивных школах, создано </a:t>
            </a:r>
            <a:r>
              <a:rPr lang="en-US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0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кружков – секций, </a:t>
            </a:r>
            <a:r>
              <a:rPr lang="en-US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643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обучающихся. В условиях сохранения спортивного резерва в учреждениях проведено 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129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мероприятий районного уровня. </a:t>
            </a:r>
            <a:endParaRPr lang="en-US" sz="12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 algn="just">
              <a:spcBef>
                <a:spcPct val="20000"/>
              </a:spcBef>
              <a:buClr>
                <a:schemeClr val="accent1"/>
              </a:buClr>
              <a:buSzPct val="70000"/>
              <a:buFont typeface="Wingdings" pitchFamily="2" charset="2"/>
              <a:buChar char="v"/>
              <a:defRPr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риобретение спортивного инвентаря для оснащения муниципальных организаций, осуществляющих деятельность в сфере физической культуры и спорта в сумме 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550,0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тыс. рублей</a:t>
            </a:r>
            <a:r>
              <a:rPr lang="en-US" sz="1200" dirty="0" smtClean="0">
                <a:latin typeface="Times New Roman" pitchFamily="18" charset="0"/>
                <a:cs typeface="Times New Roman" pitchFamily="18" charset="0"/>
              </a:rPr>
              <a:t> 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в рамках реализации мероприятий государственной программы Иркутской области "Развитие физической культуры и спорта" на 2014 - 2020 годы</a:t>
            </a:r>
          </a:p>
          <a:p>
            <a:pPr marL="342900" lvl="0" indent="-342900" algn="just">
              <a:spcBef>
                <a:spcPct val="20000"/>
              </a:spcBef>
              <a:buClr>
                <a:schemeClr val="accent1"/>
              </a:buClr>
              <a:buSzPct val="70000"/>
              <a:buFont typeface="Wingdings" pitchFamily="2" charset="2"/>
              <a:buChar char="v"/>
              <a:defRPr/>
            </a:pPr>
            <a:endParaRPr lang="ru-RU" sz="1200" dirty="0" smtClean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27" name="Picture 3" descr="C:\Documents and Settings\Admin\Рабочий стол\img_0875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91200" y="1143001"/>
            <a:ext cx="2819400" cy="2133600"/>
          </a:xfrm>
          <a:prstGeom prst="rect">
            <a:avLst/>
          </a:prstGeom>
          <a:noFill/>
        </p:spPr>
      </p:pic>
      <p:pic>
        <p:nvPicPr>
          <p:cNvPr id="8194" name="Picture 2" descr="C:\Users\finupr\Desktop\7 voy5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971800" y="4038599"/>
            <a:ext cx="2209800" cy="2286001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914400" y="304800"/>
            <a:ext cx="7772400" cy="609600"/>
          </a:xfrm>
          <a:solidFill>
            <a:schemeClr val="bg1"/>
          </a:solidFill>
          <a:ln>
            <a:solidFill>
              <a:srgbClr val="00B050"/>
            </a:solidFill>
          </a:ln>
        </p:spPr>
        <p:txBody>
          <a:bodyPr>
            <a:normAutofit fontScale="90000"/>
          </a:bodyPr>
          <a:lstStyle/>
          <a:p>
            <a:pPr algn="ctr"/>
            <a:r>
              <a:rPr lang="ru-RU" sz="1600" cap="all" dirty="0" smtClean="0">
                <a:ln/>
                <a:solidFill>
                  <a:srgbClr val="7030A0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>Муниципальная программа «Социальная поддержка отдельных категорий населения муниципального образования «Тайшетский район» на 2017 – 2019 годы                                </a:t>
            </a:r>
            <a:endParaRPr lang="ru-RU" sz="1600" dirty="0">
              <a:solidFill>
                <a:srgbClr val="7030A0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</a:effectLst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57200" y="1066800"/>
            <a:ext cx="5334000" cy="49244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sz="1300" dirty="0" smtClean="0">
                <a:latin typeface="Palatino Linotype" pitchFamily="18" charset="0"/>
              </a:rPr>
              <a:t>Цель программы – улучшение качества жизни отдельных категорий граждан</a:t>
            </a:r>
            <a:endParaRPr lang="ru-RU" sz="1300" b="1" dirty="0" smtClean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Palatino Linotype" pitchFamily="18" charset="0"/>
            </a:endParaRPr>
          </a:p>
        </p:txBody>
      </p:sp>
      <p:sp>
        <p:nvSpPr>
          <p:cNvPr id="7" name="Содержимое 2"/>
          <p:cNvSpPr txBox="1">
            <a:spLocks/>
          </p:cNvSpPr>
          <p:nvPr/>
        </p:nvSpPr>
        <p:spPr>
          <a:xfrm>
            <a:off x="457200" y="1828800"/>
            <a:ext cx="8305800" cy="1524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>
            <a:normAutofit fontScale="92500" lnSpcReduction="20000"/>
          </a:bodyPr>
          <a:lstStyle/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Для достижения цели Программы определены следующие задачи:</a:t>
            </a:r>
          </a:p>
          <a:p>
            <a:pPr marL="274320" lvl="0" indent="-274320" algn="just">
              <a:spcBef>
                <a:spcPct val="20000"/>
              </a:spcBef>
              <a:buClr>
                <a:schemeClr val="accent3"/>
              </a:buClr>
              <a:buSzPct val="95000"/>
              <a:buFont typeface="Wingdings" pitchFamily="2" charset="2"/>
              <a:buChar char="Ø"/>
              <a:defRPr/>
            </a:pPr>
            <a:r>
              <a:rPr lang="ru-RU" sz="1200" dirty="0" smtClean="0"/>
              <a:t>Полное и своевременное  осуществление областных государственных полномочий по предоставлению гражданам субсидий на оплату жилых помещений и коммунальных услуг; </a:t>
            </a:r>
          </a:p>
          <a:p>
            <a:pPr marL="274320" lvl="0" indent="-274320" algn="just">
              <a:spcBef>
                <a:spcPct val="20000"/>
              </a:spcBef>
              <a:buClr>
                <a:schemeClr val="accent3"/>
              </a:buClr>
              <a:buSzPct val="95000"/>
              <a:buFont typeface="Wingdings" pitchFamily="2" charset="2"/>
              <a:buChar char="Ø"/>
              <a:defRPr/>
            </a:pPr>
            <a:r>
              <a:rPr lang="ru-RU" sz="1200" dirty="0" smtClean="0"/>
              <a:t>Реализация прав граждан, замещавших должности муниципальной службы муниципального образования"Тайшетский район", на пенсионное обеспечение за выслугу лет, осуществление ежемесячной денежной выплаты лицам, удостоенным звания "Почетный гражданин Тайшетского района";</a:t>
            </a:r>
          </a:p>
          <a:p>
            <a:pPr marL="274320" lvl="0" indent="-274320" algn="just">
              <a:spcBef>
                <a:spcPct val="20000"/>
              </a:spcBef>
              <a:buClr>
                <a:schemeClr val="accent3"/>
              </a:buClr>
              <a:buSzPct val="95000"/>
              <a:buFont typeface="Wingdings" pitchFamily="2" charset="2"/>
              <a:buChar char="Ø"/>
              <a:defRPr/>
            </a:pPr>
            <a:r>
              <a:rPr lang="ru-RU" sz="1200" dirty="0" smtClean="0"/>
              <a:t>Оказание поддержки социально ориентированным некоммерческим организациям;</a:t>
            </a:r>
          </a:p>
          <a:p>
            <a:pPr marL="274320" indent="-274320" algn="just">
              <a:spcBef>
                <a:spcPct val="20000"/>
              </a:spcBef>
              <a:buClr>
                <a:schemeClr val="accent3"/>
              </a:buClr>
              <a:buSzPct val="95000"/>
              <a:buFont typeface="Wingdings" pitchFamily="2" charset="2"/>
              <a:buChar char="Ø"/>
              <a:defRPr/>
            </a:pPr>
            <a:r>
              <a:rPr lang="ru-RU" sz="1200" dirty="0" smtClean="0"/>
              <a:t>Обеспечение условий доступности для инвалидов и других маломобильных групп населения объектов социальной  инфраструктуры и услуг.</a:t>
            </a:r>
          </a:p>
          <a:p>
            <a:pPr marL="274320" lvl="0" indent="-274320" algn="just">
              <a:spcBef>
                <a:spcPct val="20000"/>
              </a:spcBef>
              <a:buClr>
                <a:schemeClr val="accent3"/>
              </a:buClr>
              <a:buSzPct val="95000"/>
              <a:buFont typeface="Wingdings" pitchFamily="2" charset="2"/>
              <a:buChar char="Ø"/>
              <a:defRPr/>
            </a:pPr>
            <a:endParaRPr lang="ru-RU" sz="1200" dirty="0" smtClean="0"/>
          </a:p>
          <a:p>
            <a:pPr marL="274320" lvl="0" indent="-274320" algn="just">
              <a:spcBef>
                <a:spcPct val="20000"/>
              </a:spcBef>
              <a:buClr>
                <a:schemeClr val="accent3"/>
              </a:buClr>
              <a:buSzPct val="95000"/>
              <a:buFont typeface="Wingdings" pitchFamily="2" charset="2"/>
              <a:buChar char="Ø"/>
              <a:defRPr/>
            </a:pPr>
            <a:endParaRPr lang="ru-RU" sz="1200" dirty="0" smtClean="0"/>
          </a:p>
          <a:p>
            <a:endParaRPr lang="ru-RU" sz="1200" dirty="0" smtClean="0"/>
          </a:p>
          <a:p>
            <a:endParaRPr lang="ru-RU" sz="1200" dirty="0" smtClean="0"/>
          </a:p>
        </p:txBody>
      </p:sp>
      <p:pic>
        <p:nvPicPr>
          <p:cNvPr id="9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10" name="Заголовок 1"/>
          <p:cNvSpPr txBox="1">
            <a:spLocks/>
          </p:cNvSpPr>
          <p:nvPr/>
        </p:nvSpPr>
        <p:spPr>
          <a:xfrm>
            <a:off x="2743200" y="3429000"/>
            <a:ext cx="6172200" cy="609600"/>
          </a:xfrm>
          <a:prstGeom prst="rect">
            <a:avLst/>
          </a:prstGeom>
          <a:solidFill>
            <a:schemeClr val="bg1"/>
          </a:solidFill>
          <a:ln>
            <a:solidFill>
              <a:srgbClr val="7030A0"/>
            </a:solidFill>
          </a:ln>
        </p:spPr>
        <p:txBody>
          <a:bodyPr vert="horz" anchor="ctr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Финансовое обеспечение реализации муниципальной программы</a:t>
            </a:r>
            <a:r>
              <a:rPr kumimoji="0" lang="ru-RU" sz="1200" b="0" i="0" u="none" strike="noStrike" kern="1200" cap="all" spc="0" normalizeH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«</a:t>
            </a:r>
            <a:r>
              <a:rPr lang="ru-RU" sz="1200" cap="all" dirty="0" smtClean="0">
                <a:ln/>
                <a:solidFill>
                  <a:srgbClr val="7030A0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>Социальная поддержка отдельных категорий населения муниципального образования «Тайшетский район»</a:t>
            </a:r>
            <a:r>
              <a:rPr kumimoji="0" lang="ru-RU" sz="1200" b="0" i="0" u="none" strike="noStrike" kern="1200" cap="all" spc="0" normalizeH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за 2017 год</a:t>
            </a:r>
            <a:endParaRPr kumimoji="0" lang="ru-RU" sz="12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2" name="Заголовок 1"/>
          <p:cNvSpPr txBox="1">
            <a:spLocks/>
          </p:cNvSpPr>
          <p:nvPr/>
        </p:nvSpPr>
        <p:spPr>
          <a:xfrm>
            <a:off x="7543800" y="4038600"/>
            <a:ext cx="1371600" cy="3048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Тыс. рублей</a:t>
            </a:r>
            <a:endParaRPr kumimoji="0" lang="ru-RU" sz="8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14" name="Содержимое 17"/>
          <p:cNvGraphicFramePr>
            <a:graphicFrameLocks/>
          </p:cNvGraphicFramePr>
          <p:nvPr/>
        </p:nvGraphicFramePr>
        <p:xfrm>
          <a:off x="2514600" y="4419599"/>
          <a:ext cx="6400800" cy="182880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094807"/>
                <a:gridCol w="1280160"/>
                <a:gridCol w="1280160"/>
                <a:gridCol w="1745673"/>
              </a:tblGrid>
              <a:tr h="401665"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План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Факт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Исполнение, %</a:t>
                      </a:r>
                      <a:endParaRPr lang="ru-RU" sz="1000" dirty="0"/>
                    </a:p>
                  </a:txBody>
                  <a:tcPr/>
                </a:tc>
              </a:tr>
              <a:tr h="37081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Всего</a:t>
                      </a:r>
                      <a:r>
                        <a:rPr lang="ru-RU" sz="1200" baseline="0" dirty="0" smtClean="0"/>
                        <a:t> расходов</a:t>
                      </a:r>
                      <a:endParaRPr lang="ru-RU" sz="12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/>
                        <a:t>83 006,0</a:t>
                      </a:r>
                      <a:endParaRPr lang="ru-RU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/>
                        <a:t>81 377,4</a:t>
                      </a:r>
                      <a:endParaRPr lang="ru-RU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/>
                        <a:t>98,0</a:t>
                      </a:r>
                      <a:endParaRPr lang="ru-RU" sz="1200" b="0" dirty="0"/>
                    </a:p>
                  </a:txBody>
                  <a:tcPr/>
                </a:tc>
              </a:tr>
              <a:tr h="528161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Областной бюджет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72 773,8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71 150,3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97,8</a:t>
                      </a:r>
                      <a:endParaRPr lang="ru-RU" sz="1200" dirty="0"/>
                    </a:p>
                  </a:txBody>
                  <a:tcPr/>
                </a:tc>
              </a:tr>
              <a:tr h="528161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Районный бюджет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0 232,2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0 227,1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99,9</a:t>
                      </a:r>
                      <a:endParaRPr lang="ru-RU" sz="12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1" name="Скругленный прямоугольник 10"/>
          <p:cNvSpPr/>
          <p:nvPr/>
        </p:nvSpPr>
        <p:spPr>
          <a:xfrm>
            <a:off x="6096000" y="990600"/>
            <a:ext cx="2743200" cy="685800"/>
          </a:xfrm>
          <a:prstGeom prst="roundRect">
            <a:avLst/>
          </a:prstGeom>
          <a:solidFill>
            <a:srgbClr val="FFFF99"/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latin typeface="Palatino Linotype" pitchFamily="18" charset="0"/>
              </a:rPr>
              <a:t>Ответственный исполнитель Программы – Управление экономики и промышленной политики администрации Тайшетского района</a:t>
            </a:r>
            <a:endParaRPr lang="ru-RU" sz="1000" b="1" dirty="0" smtClean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Palatino Linotype" pitchFamily="18" charset="0"/>
            </a:endParaRPr>
          </a:p>
        </p:txBody>
      </p:sp>
      <p:pic>
        <p:nvPicPr>
          <p:cNvPr id="5122" name="Picture 2" descr="C:\Users\finupr\Desktop\170230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2400" y="3505200"/>
            <a:ext cx="2209800" cy="25146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0" y="228600"/>
            <a:ext cx="7924800" cy="685800"/>
          </a:xfrm>
          <a:solidFill>
            <a:schemeClr val="bg1"/>
          </a:solidFill>
          <a:ln>
            <a:solidFill>
              <a:srgbClr val="00B050"/>
            </a:solidFill>
          </a:ln>
        </p:spPr>
        <p:txBody>
          <a:bodyPr anchor="ctr" anchorCtr="1">
            <a:normAutofit fontScale="90000"/>
          </a:bodyPr>
          <a:lstStyle/>
          <a:p>
            <a:r>
              <a:rPr lang="ru-RU" sz="1600" dirty="0" smtClean="0">
                <a:solidFill>
                  <a:srgbClr val="7030A0"/>
                </a:solidFill>
                <a:effectLst/>
              </a:rPr>
              <a:t>Финансовое обеспечение реализации муниципальной программы «Социальная </a:t>
            </a:r>
            <a:r>
              <a:rPr lang="ru-RU" sz="1600" dirty="0" smtClean="0">
                <a:solidFill>
                  <a:srgbClr val="7030A0"/>
                </a:solidFill>
              </a:rPr>
              <a:t>поддержка отдельных категорий населения муниципального образования «Тайшетский район» за 2</a:t>
            </a:r>
            <a:r>
              <a:rPr lang="ru-RU" sz="1600" dirty="0" smtClean="0">
                <a:solidFill>
                  <a:srgbClr val="7030A0"/>
                </a:solidFill>
                <a:effectLst/>
              </a:rPr>
              <a:t>01</a:t>
            </a:r>
            <a:r>
              <a:rPr lang="en-US" sz="1600" dirty="0" smtClean="0">
                <a:solidFill>
                  <a:srgbClr val="7030A0"/>
                </a:solidFill>
                <a:effectLst/>
              </a:rPr>
              <a:t>7</a:t>
            </a:r>
            <a:r>
              <a:rPr lang="ru-RU" sz="1600" dirty="0" smtClean="0">
                <a:solidFill>
                  <a:srgbClr val="7030A0"/>
                </a:solidFill>
                <a:effectLst/>
              </a:rPr>
              <a:t> год</a:t>
            </a:r>
            <a:endParaRPr lang="ru-RU" sz="1600" dirty="0">
              <a:solidFill>
                <a:srgbClr val="7030A0"/>
              </a:solidFill>
              <a:effectLst/>
            </a:endParaRPr>
          </a:p>
        </p:txBody>
      </p:sp>
      <p:graphicFrame>
        <p:nvGraphicFramePr>
          <p:cNvPr id="4" name="Содержимое 3"/>
          <p:cNvGraphicFramePr>
            <a:graphicFrameLocks noGrp="1"/>
          </p:cNvGraphicFramePr>
          <p:nvPr>
            <p:ph idx="1"/>
          </p:nvPr>
        </p:nvGraphicFramePr>
        <p:xfrm>
          <a:off x="152400" y="1219200"/>
          <a:ext cx="8610600" cy="472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5" name="Picture 2" descr="C:\Users\finupr\Desktop\gerb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pic>
        <p:nvPicPr>
          <p:cNvPr id="1026" name="Picture 2" descr="C:\Users\finupr\Desktop\50a37686c979712e53adc581b132fb4e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705600" y="3657600"/>
            <a:ext cx="2286000" cy="20574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9200" y="228600"/>
            <a:ext cx="7467600" cy="381000"/>
          </a:xfrm>
          <a:solidFill>
            <a:schemeClr val="bg1"/>
          </a:solidFill>
          <a:ln cap="sq">
            <a:solidFill>
              <a:schemeClr val="tx1"/>
            </a:solidFill>
            <a:prstDash val="solid"/>
          </a:ln>
        </p:spPr>
        <p:txBody>
          <a:bodyPr>
            <a:noAutofit/>
          </a:bodyPr>
          <a:lstStyle/>
          <a:p>
            <a:pPr algn="ctr"/>
            <a:r>
              <a:rPr lang="ru-RU" sz="2000" cap="none" dirty="0" smtClean="0">
                <a:ln w="10160">
                  <a:solidFill>
                    <a:srgbClr val="7030A0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32000" dir="5400000" algn="tl">
                    <a:srgbClr val="000000">
                      <a:alpha val="30000"/>
                    </a:srgbClr>
                  </a:outerShdw>
                </a:effectLst>
                <a:ea typeface="Batang" pitchFamily="18" charset="-127"/>
                <a:cs typeface="Arial" pitchFamily="34" charset="0"/>
              </a:rPr>
              <a:t>Бюджетная система и Бюджетный процесс</a:t>
            </a:r>
            <a:endParaRPr lang="ru-RU" sz="2000" dirty="0">
              <a:latin typeface="+mn-lt"/>
            </a:endParaRPr>
          </a:p>
        </p:txBody>
      </p:sp>
      <p:grpSp>
        <p:nvGrpSpPr>
          <p:cNvPr id="75" name="Группа 74"/>
          <p:cNvGrpSpPr/>
          <p:nvPr/>
        </p:nvGrpSpPr>
        <p:grpSpPr>
          <a:xfrm>
            <a:off x="457200" y="3349747"/>
            <a:ext cx="8534400" cy="3051052"/>
            <a:chOff x="457471" y="3580096"/>
            <a:chExt cx="8309544" cy="3060368"/>
          </a:xfrm>
        </p:grpSpPr>
        <p:sp>
          <p:nvSpPr>
            <p:cNvPr id="76" name="Полилиния 75"/>
            <p:cNvSpPr/>
            <p:nvPr/>
          </p:nvSpPr>
          <p:spPr>
            <a:xfrm>
              <a:off x="1718741" y="3580096"/>
              <a:ext cx="7048274" cy="843820"/>
            </a:xfrm>
            <a:custGeom>
              <a:avLst/>
              <a:gdLst>
                <a:gd name="connsiteX0" fmla="*/ 97832 w 586978"/>
                <a:gd name="connsiteY0" fmla="*/ 0 h 7159291"/>
                <a:gd name="connsiteX1" fmla="*/ 489146 w 586978"/>
                <a:gd name="connsiteY1" fmla="*/ 0 h 7159291"/>
                <a:gd name="connsiteX2" fmla="*/ 558324 w 586978"/>
                <a:gd name="connsiteY2" fmla="*/ 28654 h 7159291"/>
                <a:gd name="connsiteX3" fmla="*/ 586978 w 586978"/>
                <a:gd name="connsiteY3" fmla="*/ 97832 h 7159291"/>
                <a:gd name="connsiteX4" fmla="*/ 586978 w 586978"/>
                <a:gd name="connsiteY4" fmla="*/ 7159291 h 7159291"/>
                <a:gd name="connsiteX5" fmla="*/ 586978 w 586978"/>
                <a:gd name="connsiteY5" fmla="*/ 7159291 h 7159291"/>
                <a:gd name="connsiteX6" fmla="*/ 586978 w 586978"/>
                <a:gd name="connsiteY6" fmla="*/ 7159291 h 7159291"/>
                <a:gd name="connsiteX7" fmla="*/ 0 w 586978"/>
                <a:gd name="connsiteY7" fmla="*/ 7159291 h 7159291"/>
                <a:gd name="connsiteX8" fmla="*/ 0 w 586978"/>
                <a:gd name="connsiteY8" fmla="*/ 7159291 h 7159291"/>
                <a:gd name="connsiteX9" fmla="*/ 0 w 586978"/>
                <a:gd name="connsiteY9" fmla="*/ 7159291 h 7159291"/>
                <a:gd name="connsiteX10" fmla="*/ 0 w 586978"/>
                <a:gd name="connsiteY10" fmla="*/ 97832 h 7159291"/>
                <a:gd name="connsiteX11" fmla="*/ 28654 w 586978"/>
                <a:gd name="connsiteY11" fmla="*/ 28654 h 7159291"/>
                <a:gd name="connsiteX12" fmla="*/ 97832 w 586978"/>
                <a:gd name="connsiteY12" fmla="*/ 0 h 7159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6978" h="7159291">
                  <a:moveTo>
                    <a:pt x="586978" y="1193248"/>
                  </a:moveTo>
                  <a:lnTo>
                    <a:pt x="586978" y="5966043"/>
                  </a:lnTo>
                  <a:cubicBezTo>
                    <a:pt x="586978" y="6282515"/>
                    <a:pt x="586133" y="6586021"/>
                    <a:pt x="584629" y="6809797"/>
                  </a:cubicBezTo>
                  <a:cubicBezTo>
                    <a:pt x="583124" y="7033572"/>
                    <a:pt x="581084" y="7159285"/>
                    <a:pt x="578957" y="7159285"/>
                  </a:cubicBezTo>
                  <a:lnTo>
                    <a:pt x="0" y="7159285"/>
                  </a:lnTo>
                  <a:lnTo>
                    <a:pt x="0" y="7159285"/>
                  </a:lnTo>
                  <a:lnTo>
                    <a:pt x="0" y="7159285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578957" y="6"/>
                  </a:lnTo>
                  <a:cubicBezTo>
                    <a:pt x="581084" y="6"/>
                    <a:pt x="583124" y="125719"/>
                    <a:pt x="584629" y="349494"/>
                  </a:cubicBezTo>
                  <a:cubicBezTo>
                    <a:pt x="586133" y="573270"/>
                    <a:pt x="586978" y="876776"/>
                    <a:pt x="586978" y="1193248"/>
                  </a:cubicBezTo>
                  <a:close/>
                </a:path>
              </a:pathLst>
            </a:custGeom>
            <a:solidFill>
              <a:srgbClr val="EDEDA5">
                <a:alpha val="90000"/>
              </a:srgbClr>
            </a:solid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7151" tIns="57229" rIns="85804" bIns="57230" numCol="1" spcCol="1270" anchor="b" anchorCtr="0">
              <a:noAutofit/>
            </a:bodyPr>
            <a:lstStyle/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ru-RU" sz="1500" kern="1200" dirty="0"/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400" kern="1200" dirty="0" smtClean="0"/>
                <a:t>Разработка прогноза социально-экономического развития. Разработка и утверждение  основных направлений бюджетной политики и основных направлений налоговой политики. Формирование проекта бюджетного прогноза. Составление проекта бюджета МО«Тайшетский район»</a:t>
              </a:r>
              <a:endParaRPr lang="ru-RU" sz="1400" kern="1200" dirty="0"/>
            </a:p>
          </p:txBody>
        </p:sp>
        <p:sp>
          <p:nvSpPr>
            <p:cNvPr id="77" name="Полилиния 76"/>
            <p:cNvSpPr/>
            <p:nvPr/>
          </p:nvSpPr>
          <p:spPr>
            <a:xfrm>
              <a:off x="457471" y="3583158"/>
              <a:ext cx="1224314" cy="764327"/>
            </a:xfrm>
            <a:custGeom>
              <a:avLst/>
              <a:gdLst>
                <a:gd name="connsiteX0" fmla="*/ 0 w 1224314"/>
                <a:gd name="connsiteY0" fmla="*/ 122289 h 733722"/>
                <a:gd name="connsiteX1" fmla="*/ 35818 w 1224314"/>
                <a:gd name="connsiteY1" fmla="*/ 35818 h 733722"/>
                <a:gd name="connsiteX2" fmla="*/ 122289 w 1224314"/>
                <a:gd name="connsiteY2" fmla="*/ 1 h 733722"/>
                <a:gd name="connsiteX3" fmla="*/ 1102025 w 1224314"/>
                <a:gd name="connsiteY3" fmla="*/ 0 h 733722"/>
                <a:gd name="connsiteX4" fmla="*/ 1188496 w 1224314"/>
                <a:gd name="connsiteY4" fmla="*/ 35818 h 733722"/>
                <a:gd name="connsiteX5" fmla="*/ 1224313 w 1224314"/>
                <a:gd name="connsiteY5" fmla="*/ 122289 h 733722"/>
                <a:gd name="connsiteX6" fmla="*/ 1224314 w 1224314"/>
                <a:gd name="connsiteY6" fmla="*/ 611433 h 733722"/>
                <a:gd name="connsiteX7" fmla="*/ 1188496 w 1224314"/>
                <a:gd name="connsiteY7" fmla="*/ 697904 h 733722"/>
                <a:gd name="connsiteX8" fmla="*/ 1102025 w 1224314"/>
                <a:gd name="connsiteY8" fmla="*/ 733722 h 733722"/>
                <a:gd name="connsiteX9" fmla="*/ 122289 w 1224314"/>
                <a:gd name="connsiteY9" fmla="*/ 733722 h 733722"/>
                <a:gd name="connsiteX10" fmla="*/ 35818 w 1224314"/>
                <a:gd name="connsiteY10" fmla="*/ 697904 h 733722"/>
                <a:gd name="connsiteX11" fmla="*/ 0 w 1224314"/>
                <a:gd name="connsiteY11" fmla="*/ 611433 h 733722"/>
                <a:gd name="connsiteX12" fmla="*/ 0 w 1224314"/>
                <a:gd name="connsiteY12" fmla="*/ 122289 h 733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24314" h="733722">
                  <a:moveTo>
                    <a:pt x="0" y="122289"/>
                  </a:moveTo>
                  <a:cubicBezTo>
                    <a:pt x="0" y="89856"/>
                    <a:pt x="12884" y="58751"/>
                    <a:pt x="35818" y="35818"/>
                  </a:cubicBezTo>
                  <a:cubicBezTo>
                    <a:pt x="58752" y="12884"/>
                    <a:pt x="89856" y="0"/>
                    <a:pt x="122289" y="1"/>
                  </a:cubicBezTo>
                  <a:lnTo>
                    <a:pt x="1102025" y="0"/>
                  </a:lnTo>
                  <a:cubicBezTo>
                    <a:pt x="1134458" y="0"/>
                    <a:pt x="1165563" y="12884"/>
                    <a:pt x="1188496" y="35818"/>
                  </a:cubicBezTo>
                  <a:cubicBezTo>
                    <a:pt x="1211430" y="58752"/>
                    <a:pt x="1224314" y="89856"/>
                    <a:pt x="1224313" y="122289"/>
                  </a:cubicBezTo>
                  <a:cubicBezTo>
                    <a:pt x="1224313" y="285337"/>
                    <a:pt x="1224314" y="448385"/>
                    <a:pt x="1224314" y="611433"/>
                  </a:cubicBezTo>
                  <a:cubicBezTo>
                    <a:pt x="1224314" y="643866"/>
                    <a:pt x="1211430" y="674971"/>
                    <a:pt x="1188496" y="697904"/>
                  </a:cubicBezTo>
                  <a:cubicBezTo>
                    <a:pt x="1165562" y="720838"/>
                    <a:pt x="1134458" y="733722"/>
                    <a:pt x="1102025" y="733722"/>
                  </a:cubicBezTo>
                  <a:lnTo>
                    <a:pt x="122289" y="733722"/>
                  </a:lnTo>
                  <a:cubicBezTo>
                    <a:pt x="89856" y="733722"/>
                    <a:pt x="58751" y="720838"/>
                    <a:pt x="35818" y="697904"/>
                  </a:cubicBezTo>
                  <a:cubicBezTo>
                    <a:pt x="12884" y="674970"/>
                    <a:pt x="0" y="643866"/>
                    <a:pt x="0" y="611433"/>
                  </a:cubicBezTo>
                  <a:lnTo>
                    <a:pt x="0" y="122289"/>
                  </a:lnTo>
                  <a:close/>
                </a:path>
              </a:pathLst>
            </a:custGeom>
            <a:solidFill>
              <a:srgbClr val="ECF1E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7727" tIns="56772" rIns="77727" bIns="56772" numCol="1" spcCol="1270" anchor="b" anchorCtr="0">
              <a:noAutofit/>
            </a:bodyPr>
            <a:lstStyle/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5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1 июля -</a:t>
              </a:r>
            </a:p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5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15 ноября</a:t>
              </a:r>
              <a:endParaRPr lang="ru-RU" sz="1200" kern="1200" dirty="0" smtClean="0">
                <a:solidFill>
                  <a:schemeClr val="tx1"/>
                </a:solidFill>
                <a:latin typeface="Times New Roman" pitchFamily="18" charset="0"/>
              </a:endParaRPr>
            </a:p>
            <a:p>
              <a:pPr lvl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2016</a:t>
              </a:r>
              <a:endParaRPr lang="ru-RU" sz="1200" kern="1200" dirty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78" name="Полилиния 77"/>
            <p:cNvSpPr/>
            <p:nvPr/>
          </p:nvSpPr>
          <p:spPr>
            <a:xfrm>
              <a:off x="1718741" y="4576782"/>
              <a:ext cx="7048274" cy="611461"/>
            </a:xfrm>
            <a:custGeom>
              <a:avLst/>
              <a:gdLst>
                <a:gd name="connsiteX0" fmla="*/ 97832 w 586978"/>
                <a:gd name="connsiteY0" fmla="*/ 0 h 7226932"/>
                <a:gd name="connsiteX1" fmla="*/ 489146 w 586978"/>
                <a:gd name="connsiteY1" fmla="*/ 0 h 7226932"/>
                <a:gd name="connsiteX2" fmla="*/ 558324 w 586978"/>
                <a:gd name="connsiteY2" fmla="*/ 28654 h 7226932"/>
                <a:gd name="connsiteX3" fmla="*/ 586978 w 586978"/>
                <a:gd name="connsiteY3" fmla="*/ 97832 h 7226932"/>
                <a:gd name="connsiteX4" fmla="*/ 586978 w 586978"/>
                <a:gd name="connsiteY4" fmla="*/ 7226932 h 7226932"/>
                <a:gd name="connsiteX5" fmla="*/ 586978 w 586978"/>
                <a:gd name="connsiteY5" fmla="*/ 7226932 h 7226932"/>
                <a:gd name="connsiteX6" fmla="*/ 586978 w 586978"/>
                <a:gd name="connsiteY6" fmla="*/ 7226932 h 7226932"/>
                <a:gd name="connsiteX7" fmla="*/ 0 w 586978"/>
                <a:gd name="connsiteY7" fmla="*/ 7226932 h 7226932"/>
                <a:gd name="connsiteX8" fmla="*/ 0 w 586978"/>
                <a:gd name="connsiteY8" fmla="*/ 7226932 h 7226932"/>
                <a:gd name="connsiteX9" fmla="*/ 0 w 586978"/>
                <a:gd name="connsiteY9" fmla="*/ 7226932 h 7226932"/>
                <a:gd name="connsiteX10" fmla="*/ 0 w 586978"/>
                <a:gd name="connsiteY10" fmla="*/ 97832 h 7226932"/>
                <a:gd name="connsiteX11" fmla="*/ 28654 w 586978"/>
                <a:gd name="connsiteY11" fmla="*/ 28654 h 7226932"/>
                <a:gd name="connsiteX12" fmla="*/ 97832 w 586978"/>
                <a:gd name="connsiteY12" fmla="*/ 0 h 72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6978" h="7226932">
                  <a:moveTo>
                    <a:pt x="586978" y="1204521"/>
                  </a:moveTo>
                  <a:lnTo>
                    <a:pt x="586978" y="6022411"/>
                  </a:lnTo>
                  <a:cubicBezTo>
                    <a:pt x="586978" y="6341872"/>
                    <a:pt x="586141" y="6648246"/>
                    <a:pt x="584651" y="6874136"/>
                  </a:cubicBezTo>
                  <a:cubicBezTo>
                    <a:pt x="583161" y="7100025"/>
                    <a:pt x="581139" y="7226926"/>
                    <a:pt x="579032" y="7226926"/>
                  </a:cubicBezTo>
                  <a:lnTo>
                    <a:pt x="0" y="7226926"/>
                  </a:lnTo>
                  <a:lnTo>
                    <a:pt x="0" y="7226926"/>
                  </a:lnTo>
                  <a:lnTo>
                    <a:pt x="0" y="722692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579032" y="6"/>
                  </a:lnTo>
                  <a:cubicBezTo>
                    <a:pt x="581139" y="6"/>
                    <a:pt x="583161" y="126907"/>
                    <a:pt x="584651" y="352796"/>
                  </a:cubicBezTo>
                  <a:cubicBezTo>
                    <a:pt x="586141" y="578686"/>
                    <a:pt x="586978" y="885060"/>
                    <a:pt x="586978" y="1204521"/>
                  </a:cubicBezTo>
                  <a:close/>
                </a:path>
              </a:pathLst>
            </a:custGeom>
            <a:solidFill>
              <a:srgbClr val="F9E235">
                <a:alpha val="89804"/>
              </a:srgbClr>
            </a:solid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7150" tIns="57230" rIns="85804" bIns="57230" numCol="1" spcCol="1270" anchor="b" anchorCtr="0">
              <a:noAutofit/>
            </a:bodyPr>
            <a:lstStyle/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ru-RU" sz="1500" kern="1200" dirty="0"/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400" kern="1200" dirty="0" smtClean="0"/>
                <a:t>Направление проекта бюджета МО «Тайшетский район» на внешнюю проверку в Контрольно-счетную палату, рассмотрение </a:t>
              </a:r>
              <a:r>
                <a:rPr lang="ru-RU" sz="1400" kern="1200" dirty="0" smtClean="0"/>
                <a:t>проекта бюджета  и утверждение бюджета МО «Тайшетский район» Думой Тайшетского района.</a:t>
              </a:r>
              <a:endParaRPr lang="ru-RU" sz="1400" kern="1200" dirty="0"/>
            </a:p>
          </p:txBody>
        </p:sp>
        <p:sp>
          <p:nvSpPr>
            <p:cNvPr id="79" name="Полилиния 78"/>
            <p:cNvSpPr/>
            <p:nvPr/>
          </p:nvSpPr>
          <p:spPr>
            <a:xfrm>
              <a:off x="457471" y="4423917"/>
              <a:ext cx="1230646" cy="687894"/>
            </a:xfrm>
            <a:custGeom>
              <a:avLst/>
              <a:gdLst>
                <a:gd name="connsiteX0" fmla="*/ 0 w 1230646"/>
                <a:gd name="connsiteY0" fmla="*/ 122289 h 733722"/>
                <a:gd name="connsiteX1" fmla="*/ 35818 w 1230646"/>
                <a:gd name="connsiteY1" fmla="*/ 35818 h 733722"/>
                <a:gd name="connsiteX2" fmla="*/ 122289 w 1230646"/>
                <a:gd name="connsiteY2" fmla="*/ 1 h 733722"/>
                <a:gd name="connsiteX3" fmla="*/ 1108357 w 1230646"/>
                <a:gd name="connsiteY3" fmla="*/ 0 h 733722"/>
                <a:gd name="connsiteX4" fmla="*/ 1194828 w 1230646"/>
                <a:gd name="connsiteY4" fmla="*/ 35818 h 733722"/>
                <a:gd name="connsiteX5" fmla="*/ 1230645 w 1230646"/>
                <a:gd name="connsiteY5" fmla="*/ 122289 h 733722"/>
                <a:gd name="connsiteX6" fmla="*/ 1230646 w 1230646"/>
                <a:gd name="connsiteY6" fmla="*/ 611433 h 733722"/>
                <a:gd name="connsiteX7" fmla="*/ 1194828 w 1230646"/>
                <a:gd name="connsiteY7" fmla="*/ 697904 h 733722"/>
                <a:gd name="connsiteX8" fmla="*/ 1108357 w 1230646"/>
                <a:gd name="connsiteY8" fmla="*/ 733722 h 733722"/>
                <a:gd name="connsiteX9" fmla="*/ 122289 w 1230646"/>
                <a:gd name="connsiteY9" fmla="*/ 733722 h 733722"/>
                <a:gd name="connsiteX10" fmla="*/ 35818 w 1230646"/>
                <a:gd name="connsiteY10" fmla="*/ 697904 h 733722"/>
                <a:gd name="connsiteX11" fmla="*/ 0 w 1230646"/>
                <a:gd name="connsiteY11" fmla="*/ 611433 h 733722"/>
                <a:gd name="connsiteX12" fmla="*/ 0 w 1230646"/>
                <a:gd name="connsiteY12" fmla="*/ 122289 h 733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30646" h="733722">
                  <a:moveTo>
                    <a:pt x="0" y="122289"/>
                  </a:moveTo>
                  <a:cubicBezTo>
                    <a:pt x="0" y="89856"/>
                    <a:pt x="12884" y="58751"/>
                    <a:pt x="35818" y="35818"/>
                  </a:cubicBezTo>
                  <a:cubicBezTo>
                    <a:pt x="58752" y="12884"/>
                    <a:pt x="89856" y="0"/>
                    <a:pt x="122289" y="1"/>
                  </a:cubicBezTo>
                  <a:lnTo>
                    <a:pt x="1108357" y="0"/>
                  </a:lnTo>
                  <a:cubicBezTo>
                    <a:pt x="1140790" y="0"/>
                    <a:pt x="1171895" y="12884"/>
                    <a:pt x="1194828" y="35818"/>
                  </a:cubicBezTo>
                  <a:cubicBezTo>
                    <a:pt x="1217762" y="58752"/>
                    <a:pt x="1230646" y="89856"/>
                    <a:pt x="1230645" y="122289"/>
                  </a:cubicBezTo>
                  <a:cubicBezTo>
                    <a:pt x="1230645" y="285337"/>
                    <a:pt x="1230646" y="448385"/>
                    <a:pt x="1230646" y="611433"/>
                  </a:cubicBezTo>
                  <a:cubicBezTo>
                    <a:pt x="1230646" y="643866"/>
                    <a:pt x="1217762" y="674971"/>
                    <a:pt x="1194828" y="697904"/>
                  </a:cubicBezTo>
                  <a:cubicBezTo>
                    <a:pt x="1171894" y="720838"/>
                    <a:pt x="1140790" y="733722"/>
                    <a:pt x="1108357" y="733722"/>
                  </a:cubicBezTo>
                  <a:lnTo>
                    <a:pt x="122289" y="733722"/>
                  </a:lnTo>
                  <a:cubicBezTo>
                    <a:pt x="89856" y="733722"/>
                    <a:pt x="58751" y="720838"/>
                    <a:pt x="35818" y="697904"/>
                  </a:cubicBezTo>
                  <a:cubicBezTo>
                    <a:pt x="12884" y="674970"/>
                    <a:pt x="0" y="643866"/>
                    <a:pt x="0" y="611433"/>
                  </a:cubicBezTo>
                  <a:lnTo>
                    <a:pt x="0" y="122289"/>
                  </a:lnTo>
                  <a:close/>
                </a:path>
              </a:pathLst>
            </a:custGeom>
            <a:solidFill>
              <a:srgbClr val="ECF1E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7727" tIns="56772" rIns="77727" bIns="56772" numCol="1" spcCol="1270" anchor="b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10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16 ноября </a:t>
              </a:r>
              <a:r>
                <a:rPr lang="ru-RU" sz="110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-</a:t>
              </a:r>
            </a:p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10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27 </a:t>
              </a:r>
              <a:r>
                <a:rPr lang="ru-RU" sz="120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декабря</a:t>
              </a:r>
            </a:p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2016</a:t>
              </a:r>
              <a:endParaRPr lang="ru-RU" sz="1200" kern="1200" dirty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0" name="Полилиния 79"/>
            <p:cNvSpPr/>
            <p:nvPr/>
          </p:nvSpPr>
          <p:spPr>
            <a:xfrm>
              <a:off x="457471" y="5188243"/>
              <a:ext cx="1223035" cy="687894"/>
            </a:xfrm>
            <a:custGeom>
              <a:avLst/>
              <a:gdLst>
                <a:gd name="connsiteX0" fmla="*/ 0 w 1223035"/>
                <a:gd name="connsiteY0" fmla="*/ 122289 h 733722"/>
                <a:gd name="connsiteX1" fmla="*/ 35818 w 1223035"/>
                <a:gd name="connsiteY1" fmla="*/ 35818 h 733722"/>
                <a:gd name="connsiteX2" fmla="*/ 122289 w 1223035"/>
                <a:gd name="connsiteY2" fmla="*/ 1 h 733722"/>
                <a:gd name="connsiteX3" fmla="*/ 1100746 w 1223035"/>
                <a:gd name="connsiteY3" fmla="*/ 0 h 733722"/>
                <a:gd name="connsiteX4" fmla="*/ 1187217 w 1223035"/>
                <a:gd name="connsiteY4" fmla="*/ 35818 h 733722"/>
                <a:gd name="connsiteX5" fmla="*/ 1223034 w 1223035"/>
                <a:gd name="connsiteY5" fmla="*/ 122289 h 733722"/>
                <a:gd name="connsiteX6" fmla="*/ 1223035 w 1223035"/>
                <a:gd name="connsiteY6" fmla="*/ 611433 h 733722"/>
                <a:gd name="connsiteX7" fmla="*/ 1187217 w 1223035"/>
                <a:gd name="connsiteY7" fmla="*/ 697904 h 733722"/>
                <a:gd name="connsiteX8" fmla="*/ 1100746 w 1223035"/>
                <a:gd name="connsiteY8" fmla="*/ 733722 h 733722"/>
                <a:gd name="connsiteX9" fmla="*/ 122289 w 1223035"/>
                <a:gd name="connsiteY9" fmla="*/ 733722 h 733722"/>
                <a:gd name="connsiteX10" fmla="*/ 35818 w 1223035"/>
                <a:gd name="connsiteY10" fmla="*/ 697904 h 733722"/>
                <a:gd name="connsiteX11" fmla="*/ 0 w 1223035"/>
                <a:gd name="connsiteY11" fmla="*/ 611433 h 733722"/>
                <a:gd name="connsiteX12" fmla="*/ 0 w 1223035"/>
                <a:gd name="connsiteY12" fmla="*/ 122289 h 733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23035" h="733722">
                  <a:moveTo>
                    <a:pt x="0" y="122289"/>
                  </a:moveTo>
                  <a:cubicBezTo>
                    <a:pt x="0" y="89856"/>
                    <a:pt x="12884" y="58751"/>
                    <a:pt x="35818" y="35818"/>
                  </a:cubicBezTo>
                  <a:cubicBezTo>
                    <a:pt x="58752" y="12884"/>
                    <a:pt x="89856" y="0"/>
                    <a:pt x="122289" y="1"/>
                  </a:cubicBezTo>
                  <a:lnTo>
                    <a:pt x="1100746" y="0"/>
                  </a:lnTo>
                  <a:cubicBezTo>
                    <a:pt x="1133179" y="0"/>
                    <a:pt x="1164284" y="12884"/>
                    <a:pt x="1187217" y="35818"/>
                  </a:cubicBezTo>
                  <a:cubicBezTo>
                    <a:pt x="1210151" y="58752"/>
                    <a:pt x="1223035" y="89856"/>
                    <a:pt x="1223034" y="122289"/>
                  </a:cubicBezTo>
                  <a:cubicBezTo>
                    <a:pt x="1223034" y="285337"/>
                    <a:pt x="1223035" y="448385"/>
                    <a:pt x="1223035" y="611433"/>
                  </a:cubicBezTo>
                  <a:cubicBezTo>
                    <a:pt x="1223035" y="643866"/>
                    <a:pt x="1210151" y="674971"/>
                    <a:pt x="1187217" y="697904"/>
                  </a:cubicBezTo>
                  <a:cubicBezTo>
                    <a:pt x="1164283" y="720838"/>
                    <a:pt x="1133179" y="733722"/>
                    <a:pt x="1100746" y="733722"/>
                  </a:cubicBezTo>
                  <a:lnTo>
                    <a:pt x="122289" y="733722"/>
                  </a:lnTo>
                  <a:cubicBezTo>
                    <a:pt x="89856" y="733722"/>
                    <a:pt x="58751" y="720838"/>
                    <a:pt x="35818" y="697904"/>
                  </a:cubicBezTo>
                  <a:cubicBezTo>
                    <a:pt x="12884" y="674970"/>
                    <a:pt x="0" y="643866"/>
                    <a:pt x="0" y="611433"/>
                  </a:cubicBezTo>
                  <a:lnTo>
                    <a:pt x="0" y="122289"/>
                  </a:lnTo>
                  <a:close/>
                </a:path>
              </a:pathLst>
            </a:custGeom>
            <a:solidFill>
              <a:srgbClr val="ECF1E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7727" tIns="56772" rIns="77727" bIns="56772" numCol="1" spcCol="1270" anchor="b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10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1 января -</a:t>
              </a:r>
            </a:p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10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31 </a:t>
              </a:r>
              <a:r>
                <a:rPr lang="ru-RU" sz="120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декабря</a:t>
              </a:r>
            </a:p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2017</a:t>
              </a:r>
              <a:endParaRPr lang="ru-RU" sz="1200" kern="1200" dirty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  <p:sp>
          <p:nvSpPr>
            <p:cNvPr id="81" name="Полилиния 80"/>
            <p:cNvSpPr/>
            <p:nvPr/>
          </p:nvSpPr>
          <p:spPr>
            <a:xfrm>
              <a:off x="1718741" y="5943600"/>
              <a:ext cx="7048274" cy="696864"/>
            </a:xfrm>
            <a:custGeom>
              <a:avLst/>
              <a:gdLst>
                <a:gd name="connsiteX0" fmla="*/ 97832 w 586978"/>
                <a:gd name="connsiteY0" fmla="*/ 0 h 7260897"/>
                <a:gd name="connsiteX1" fmla="*/ 489146 w 586978"/>
                <a:gd name="connsiteY1" fmla="*/ 0 h 7260897"/>
                <a:gd name="connsiteX2" fmla="*/ 558324 w 586978"/>
                <a:gd name="connsiteY2" fmla="*/ 28654 h 7260897"/>
                <a:gd name="connsiteX3" fmla="*/ 586978 w 586978"/>
                <a:gd name="connsiteY3" fmla="*/ 97832 h 7260897"/>
                <a:gd name="connsiteX4" fmla="*/ 586978 w 586978"/>
                <a:gd name="connsiteY4" fmla="*/ 7260897 h 7260897"/>
                <a:gd name="connsiteX5" fmla="*/ 586978 w 586978"/>
                <a:gd name="connsiteY5" fmla="*/ 7260897 h 7260897"/>
                <a:gd name="connsiteX6" fmla="*/ 586978 w 586978"/>
                <a:gd name="connsiteY6" fmla="*/ 7260897 h 7260897"/>
                <a:gd name="connsiteX7" fmla="*/ 0 w 586978"/>
                <a:gd name="connsiteY7" fmla="*/ 7260897 h 7260897"/>
                <a:gd name="connsiteX8" fmla="*/ 0 w 586978"/>
                <a:gd name="connsiteY8" fmla="*/ 7260897 h 7260897"/>
                <a:gd name="connsiteX9" fmla="*/ 0 w 586978"/>
                <a:gd name="connsiteY9" fmla="*/ 7260897 h 7260897"/>
                <a:gd name="connsiteX10" fmla="*/ 0 w 586978"/>
                <a:gd name="connsiteY10" fmla="*/ 97832 h 7260897"/>
                <a:gd name="connsiteX11" fmla="*/ 28654 w 586978"/>
                <a:gd name="connsiteY11" fmla="*/ 28654 h 7260897"/>
                <a:gd name="connsiteX12" fmla="*/ 97832 w 586978"/>
                <a:gd name="connsiteY12" fmla="*/ 0 h 7260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6978" h="7260897">
                  <a:moveTo>
                    <a:pt x="586978" y="1210182"/>
                  </a:moveTo>
                  <a:lnTo>
                    <a:pt x="586978" y="6050715"/>
                  </a:lnTo>
                  <a:cubicBezTo>
                    <a:pt x="586978" y="6371677"/>
                    <a:pt x="586145" y="6679491"/>
                    <a:pt x="584662" y="6906442"/>
                  </a:cubicBezTo>
                  <a:cubicBezTo>
                    <a:pt x="583178" y="7133394"/>
                    <a:pt x="581167" y="7260891"/>
                    <a:pt x="579069" y="7260891"/>
                  </a:cubicBezTo>
                  <a:lnTo>
                    <a:pt x="0" y="7260891"/>
                  </a:lnTo>
                  <a:lnTo>
                    <a:pt x="0" y="7260891"/>
                  </a:lnTo>
                  <a:lnTo>
                    <a:pt x="0" y="7260891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579069" y="6"/>
                  </a:lnTo>
                  <a:cubicBezTo>
                    <a:pt x="581167" y="6"/>
                    <a:pt x="583178" y="127503"/>
                    <a:pt x="584662" y="354455"/>
                  </a:cubicBezTo>
                  <a:cubicBezTo>
                    <a:pt x="586145" y="581406"/>
                    <a:pt x="586978" y="889220"/>
                    <a:pt x="586978" y="1210182"/>
                  </a:cubicBezTo>
                  <a:close/>
                </a:path>
              </a:pathLst>
            </a:custGeom>
            <a:solidFill>
              <a:schemeClr val="bg2">
                <a:lumMod val="90000"/>
                <a:alpha val="90000"/>
              </a:schemeClr>
            </a:solid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7151" tIns="57229" rIns="85804" bIns="57230" numCol="1" spcCol="1270" anchor="b" anchorCtr="0">
              <a:noAutofit/>
            </a:bodyPr>
            <a:lstStyle/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ru-RU" sz="1500" kern="1200" dirty="0"/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400" kern="1200" dirty="0" smtClean="0"/>
                <a:t>Составление годовой отчетности, направление на внешнюю проверку в Контрольно-счетную палату района, рассмотрение и утверждение отчета об исполнении бюджета МО «Тайшетский район» Думой Тайшетского района.</a:t>
              </a:r>
              <a:endParaRPr lang="ru-RU" sz="1400" kern="1200" dirty="0"/>
            </a:p>
          </p:txBody>
        </p:sp>
        <p:sp>
          <p:nvSpPr>
            <p:cNvPr id="82" name="Полилиния 81"/>
            <p:cNvSpPr/>
            <p:nvPr/>
          </p:nvSpPr>
          <p:spPr>
            <a:xfrm>
              <a:off x="457471" y="5952570"/>
              <a:ext cx="1196759" cy="687894"/>
            </a:xfrm>
            <a:custGeom>
              <a:avLst/>
              <a:gdLst>
                <a:gd name="connsiteX0" fmla="*/ 0 w 1196759"/>
                <a:gd name="connsiteY0" fmla="*/ 122289 h 733722"/>
                <a:gd name="connsiteX1" fmla="*/ 35818 w 1196759"/>
                <a:gd name="connsiteY1" fmla="*/ 35818 h 733722"/>
                <a:gd name="connsiteX2" fmla="*/ 122289 w 1196759"/>
                <a:gd name="connsiteY2" fmla="*/ 1 h 733722"/>
                <a:gd name="connsiteX3" fmla="*/ 1074470 w 1196759"/>
                <a:gd name="connsiteY3" fmla="*/ 0 h 733722"/>
                <a:gd name="connsiteX4" fmla="*/ 1160941 w 1196759"/>
                <a:gd name="connsiteY4" fmla="*/ 35818 h 733722"/>
                <a:gd name="connsiteX5" fmla="*/ 1196758 w 1196759"/>
                <a:gd name="connsiteY5" fmla="*/ 122289 h 733722"/>
                <a:gd name="connsiteX6" fmla="*/ 1196759 w 1196759"/>
                <a:gd name="connsiteY6" fmla="*/ 611433 h 733722"/>
                <a:gd name="connsiteX7" fmla="*/ 1160941 w 1196759"/>
                <a:gd name="connsiteY7" fmla="*/ 697904 h 733722"/>
                <a:gd name="connsiteX8" fmla="*/ 1074470 w 1196759"/>
                <a:gd name="connsiteY8" fmla="*/ 733722 h 733722"/>
                <a:gd name="connsiteX9" fmla="*/ 122289 w 1196759"/>
                <a:gd name="connsiteY9" fmla="*/ 733722 h 733722"/>
                <a:gd name="connsiteX10" fmla="*/ 35818 w 1196759"/>
                <a:gd name="connsiteY10" fmla="*/ 697904 h 733722"/>
                <a:gd name="connsiteX11" fmla="*/ 0 w 1196759"/>
                <a:gd name="connsiteY11" fmla="*/ 611433 h 733722"/>
                <a:gd name="connsiteX12" fmla="*/ 0 w 1196759"/>
                <a:gd name="connsiteY12" fmla="*/ 122289 h 733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96759" h="733722">
                  <a:moveTo>
                    <a:pt x="0" y="122289"/>
                  </a:moveTo>
                  <a:cubicBezTo>
                    <a:pt x="0" y="89856"/>
                    <a:pt x="12884" y="58751"/>
                    <a:pt x="35818" y="35818"/>
                  </a:cubicBezTo>
                  <a:cubicBezTo>
                    <a:pt x="58752" y="12884"/>
                    <a:pt x="89856" y="0"/>
                    <a:pt x="122289" y="1"/>
                  </a:cubicBezTo>
                  <a:lnTo>
                    <a:pt x="1074470" y="0"/>
                  </a:lnTo>
                  <a:cubicBezTo>
                    <a:pt x="1106903" y="0"/>
                    <a:pt x="1138008" y="12884"/>
                    <a:pt x="1160941" y="35818"/>
                  </a:cubicBezTo>
                  <a:cubicBezTo>
                    <a:pt x="1183875" y="58752"/>
                    <a:pt x="1196759" y="89856"/>
                    <a:pt x="1196758" y="122289"/>
                  </a:cubicBezTo>
                  <a:cubicBezTo>
                    <a:pt x="1196758" y="285337"/>
                    <a:pt x="1196759" y="448385"/>
                    <a:pt x="1196759" y="611433"/>
                  </a:cubicBezTo>
                  <a:cubicBezTo>
                    <a:pt x="1196759" y="643866"/>
                    <a:pt x="1183875" y="674971"/>
                    <a:pt x="1160941" y="697904"/>
                  </a:cubicBezTo>
                  <a:cubicBezTo>
                    <a:pt x="1138007" y="720838"/>
                    <a:pt x="1106903" y="733722"/>
                    <a:pt x="1074470" y="733722"/>
                  </a:cubicBezTo>
                  <a:lnTo>
                    <a:pt x="122289" y="733722"/>
                  </a:lnTo>
                  <a:cubicBezTo>
                    <a:pt x="89856" y="733722"/>
                    <a:pt x="58751" y="720838"/>
                    <a:pt x="35818" y="697904"/>
                  </a:cubicBezTo>
                  <a:cubicBezTo>
                    <a:pt x="12884" y="674970"/>
                    <a:pt x="0" y="643866"/>
                    <a:pt x="0" y="611433"/>
                  </a:cubicBezTo>
                  <a:lnTo>
                    <a:pt x="0" y="122289"/>
                  </a:lnTo>
                  <a:close/>
                </a:path>
              </a:pathLst>
            </a:custGeom>
            <a:solidFill>
              <a:srgbClr val="ECF1E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7727" tIns="56772" rIns="77727" bIns="56772" numCol="1" spcCol="1270" anchor="b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10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15 января </a:t>
              </a:r>
              <a:r>
                <a:rPr lang="ru-RU" sz="110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-</a:t>
              </a:r>
            </a:p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10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31 </a:t>
              </a:r>
              <a:r>
                <a:rPr lang="ru-RU" sz="120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мая</a:t>
              </a:r>
            </a:p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kern="1200" dirty="0" smtClean="0">
                  <a:solidFill>
                    <a:schemeClr val="tx1"/>
                  </a:solidFill>
                  <a:latin typeface="Times New Roman" pitchFamily="18" charset="0"/>
                </a:rPr>
                <a:t>2018</a:t>
              </a:r>
              <a:endParaRPr lang="ru-RU" sz="1200" kern="1200" dirty="0">
                <a:solidFill>
                  <a:schemeClr val="tx1"/>
                </a:solidFill>
                <a:latin typeface="Times New Roman" pitchFamily="18" charset="0"/>
              </a:endParaRPr>
            </a:p>
          </p:txBody>
        </p:sp>
      </p:grpSp>
      <p:pic>
        <p:nvPicPr>
          <p:cNvPr id="5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6" name="Заголовок 1"/>
          <p:cNvSpPr txBox="1">
            <a:spLocks/>
          </p:cNvSpPr>
          <p:nvPr/>
        </p:nvSpPr>
        <p:spPr>
          <a:xfrm>
            <a:off x="457200" y="2895600"/>
            <a:ext cx="8458200" cy="3048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cap="sq">
            <a:noFill/>
            <a:prstDash val="solid"/>
          </a:ln>
        </p:spPr>
        <p:txBody>
          <a:bodyPr vert="horz" lIns="0" rIns="0" bIns="0" anchor="b">
            <a:normAutofit fontScale="97500" lnSpcReduction="10000"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sng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Batang" pitchFamily="18" charset="-127"/>
                <a:cs typeface="Arial" pitchFamily="34" charset="0"/>
              </a:rPr>
              <a:t>Этапы бюджетного процесса в муниципальном образовании «Тайшетский район»*</a:t>
            </a:r>
            <a:endParaRPr kumimoji="0" lang="ru-RU" sz="1800" b="0" i="0" u="sng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914400" y="685800"/>
            <a:ext cx="8077200" cy="381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cap="sq">
            <a:noFill/>
            <a:prstDash val="solid"/>
          </a:ln>
        </p:spPr>
        <p:txBody>
          <a:bodyPr vert="horz" lIns="0" rIns="0" bIns="0" anchor="b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1" i="1" u="sng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Структура</a:t>
            </a:r>
            <a:r>
              <a:rPr kumimoji="0" lang="ru-RU" sz="1600" b="1" i="1" u="sng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бюджетной системы муниципального образования «Тайшетский</a:t>
            </a:r>
            <a:r>
              <a:rPr kumimoji="0" lang="ru-RU" sz="1600" b="1" i="1" u="sng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район»</a:t>
            </a:r>
            <a:endParaRPr kumimoji="0" lang="ru-RU" sz="1600" b="1" i="1" u="sng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8" name="Заголовок 1"/>
          <p:cNvSpPr txBox="1">
            <a:spLocks/>
          </p:cNvSpPr>
          <p:nvPr/>
        </p:nvSpPr>
        <p:spPr>
          <a:xfrm>
            <a:off x="990600" y="1143000"/>
            <a:ext cx="7696200" cy="228600"/>
          </a:xfrm>
          <a:prstGeom prst="rect">
            <a:avLst/>
          </a:prstGeom>
          <a:solidFill>
            <a:schemeClr val="bg1"/>
          </a:solidFill>
          <a:ln cap="sq">
            <a:solidFill>
              <a:schemeClr val="tx1"/>
            </a:solidFill>
            <a:prstDash val="solid"/>
          </a:ln>
        </p:spPr>
        <p:txBody>
          <a:bodyPr vert="horz" lIns="0" rIns="0" bIns="0" anchor="b">
            <a:normAutofit fontScale="82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Консолидированный бюджет  муниципального образования «Тайшетский</a:t>
            </a:r>
            <a:r>
              <a:rPr kumimoji="0" lang="ru-RU" sz="18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район»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1143000" y="1676400"/>
            <a:ext cx="3200400" cy="457200"/>
          </a:xfrm>
          <a:prstGeom prst="rect">
            <a:avLst/>
          </a:prstGeom>
          <a:gradFill>
            <a:gsLst>
              <a:gs pos="0">
                <a:srgbClr val="8488C4"/>
              </a:gs>
              <a:gs pos="53000">
                <a:srgbClr val="D4DEFF"/>
              </a:gs>
              <a:gs pos="83000">
                <a:srgbClr val="D4DEFF"/>
              </a:gs>
              <a:gs pos="100000">
                <a:srgbClr val="96AB94"/>
              </a:gs>
            </a:gsLst>
            <a:lin ang="5400000" scaled="0"/>
          </a:gradFill>
          <a:ln cap="sq">
            <a:solidFill>
              <a:schemeClr val="tx1"/>
            </a:solidFill>
            <a:prstDash val="solid"/>
          </a:ln>
        </p:spPr>
        <p:txBody>
          <a:bodyPr vert="horz" lIns="0" rIns="0" bIns="0" anchor="b">
            <a:normAutofit fontScale="97500" lnSpcReduction="1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Бюджет  муниципального образования «Тайшетский</a:t>
            </a:r>
            <a:r>
              <a:rPr kumimoji="0" lang="ru-RU" sz="1400" b="0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район» (районный бюджет)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5334000" y="1676400"/>
            <a:ext cx="2590800" cy="457200"/>
          </a:xfrm>
          <a:prstGeom prst="rect">
            <a:avLst/>
          </a:prstGeom>
          <a:gradFill>
            <a:gsLst>
              <a:gs pos="0">
                <a:srgbClr val="8488C4"/>
              </a:gs>
              <a:gs pos="53000">
                <a:srgbClr val="D4DEFF"/>
              </a:gs>
              <a:gs pos="83000">
                <a:srgbClr val="D4DEFF"/>
              </a:gs>
              <a:gs pos="100000">
                <a:srgbClr val="96AB94"/>
              </a:gs>
            </a:gsLst>
            <a:lin ang="5400000" scaled="0"/>
          </a:gradFill>
          <a:ln cap="sq">
            <a:solidFill>
              <a:schemeClr val="tx1"/>
            </a:solidFill>
            <a:prstDash val="solid"/>
          </a:ln>
        </p:spPr>
        <p:txBody>
          <a:bodyPr vert="horz" lIns="0" rIns="0" bIns="0" anchor="b">
            <a:normAutofit fontScale="97500" lnSpcReduction="1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Бюджеты городских и сельских поселений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11" name="Заголовок 1"/>
          <p:cNvSpPr txBox="1">
            <a:spLocks/>
          </p:cNvSpPr>
          <p:nvPr/>
        </p:nvSpPr>
        <p:spPr>
          <a:xfrm>
            <a:off x="4800600" y="2438400"/>
            <a:ext cx="1752600" cy="381000"/>
          </a:xfrm>
          <a:prstGeom prst="rect">
            <a:avLst/>
          </a:prstGeom>
          <a:gradFill>
            <a:gsLst>
              <a:gs pos="0">
                <a:srgbClr val="8488C4"/>
              </a:gs>
              <a:gs pos="53000">
                <a:srgbClr val="D4DEFF"/>
              </a:gs>
              <a:gs pos="83000">
                <a:srgbClr val="D4DEFF"/>
              </a:gs>
              <a:gs pos="100000">
                <a:srgbClr val="96AB94"/>
              </a:gs>
            </a:gsLst>
            <a:lin ang="5400000" scaled="0"/>
          </a:gradFill>
          <a:ln cap="sq">
            <a:solidFill>
              <a:schemeClr val="tx1"/>
            </a:solidFill>
            <a:prstDash val="solid"/>
          </a:ln>
        </p:spPr>
        <p:txBody>
          <a:bodyPr vert="horz" lIns="0" rIns="0" bIns="0" anchor="b">
            <a:normAutofit fontScale="92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Бюджеты 6 городских поселений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12" name="Заголовок 1"/>
          <p:cNvSpPr txBox="1">
            <a:spLocks/>
          </p:cNvSpPr>
          <p:nvPr/>
        </p:nvSpPr>
        <p:spPr>
          <a:xfrm>
            <a:off x="6858000" y="2438400"/>
            <a:ext cx="1752600" cy="381000"/>
          </a:xfrm>
          <a:prstGeom prst="rect">
            <a:avLst/>
          </a:prstGeom>
          <a:gradFill>
            <a:gsLst>
              <a:gs pos="0">
                <a:srgbClr val="8488C4"/>
              </a:gs>
              <a:gs pos="53000">
                <a:srgbClr val="D4DEFF"/>
              </a:gs>
              <a:gs pos="83000">
                <a:srgbClr val="D4DEFF"/>
              </a:gs>
              <a:gs pos="100000">
                <a:srgbClr val="96AB94"/>
              </a:gs>
            </a:gsLst>
            <a:lin ang="5400000" scaled="0"/>
          </a:gradFill>
          <a:ln cap="sq">
            <a:solidFill>
              <a:schemeClr val="tx1"/>
            </a:solidFill>
            <a:prstDash val="solid"/>
          </a:ln>
        </p:spPr>
        <p:txBody>
          <a:bodyPr vert="horz" lIns="0" rIns="0" bIns="0" anchor="b">
            <a:normAutofit fontScale="90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Бюджеты 25 сельских поселений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cxnSp>
        <p:nvCxnSpPr>
          <p:cNvPr id="14" name="Прямая со стрелкой 13"/>
          <p:cNvCxnSpPr>
            <a:endCxn id="9" idx="0"/>
          </p:cNvCxnSpPr>
          <p:nvPr/>
        </p:nvCxnSpPr>
        <p:spPr>
          <a:xfrm>
            <a:off x="2743200" y="1371600"/>
            <a:ext cx="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/>
          <p:cNvCxnSpPr>
            <a:endCxn id="10" idx="0"/>
          </p:cNvCxnSpPr>
          <p:nvPr/>
        </p:nvCxnSpPr>
        <p:spPr>
          <a:xfrm>
            <a:off x="6629400" y="1371600"/>
            <a:ext cx="0" cy="304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/>
          <p:cNvCxnSpPr>
            <a:endCxn id="11" idx="0"/>
          </p:cNvCxnSpPr>
          <p:nvPr/>
        </p:nvCxnSpPr>
        <p:spPr>
          <a:xfrm flipH="1">
            <a:off x="5676900" y="2209800"/>
            <a:ext cx="419100" cy="228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/>
          <p:cNvCxnSpPr>
            <a:endCxn id="12" idx="0"/>
          </p:cNvCxnSpPr>
          <p:nvPr/>
        </p:nvCxnSpPr>
        <p:spPr>
          <a:xfrm>
            <a:off x="7086600" y="2209800"/>
            <a:ext cx="647700" cy="228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Полилиния 82"/>
          <p:cNvSpPr/>
          <p:nvPr/>
        </p:nvSpPr>
        <p:spPr>
          <a:xfrm>
            <a:off x="1752600" y="5029200"/>
            <a:ext cx="7239000" cy="533400"/>
          </a:xfrm>
          <a:custGeom>
            <a:avLst/>
            <a:gdLst>
              <a:gd name="connsiteX0" fmla="*/ 97832 w 586978"/>
              <a:gd name="connsiteY0" fmla="*/ 0 h 7226932"/>
              <a:gd name="connsiteX1" fmla="*/ 489146 w 586978"/>
              <a:gd name="connsiteY1" fmla="*/ 0 h 7226932"/>
              <a:gd name="connsiteX2" fmla="*/ 558324 w 586978"/>
              <a:gd name="connsiteY2" fmla="*/ 28654 h 7226932"/>
              <a:gd name="connsiteX3" fmla="*/ 586978 w 586978"/>
              <a:gd name="connsiteY3" fmla="*/ 97832 h 7226932"/>
              <a:gd name="connsiteX4" fmla="*/ 586978 w 586978"/>
              <a:gd name="connsiteY4" fmla="*/ 7226932 h 7226932"/>
              <a:gd name="connsiteX5" fmla="*/ 586978 w 586978"/>
              <a:gd name="connsiteY5" fmla="*/ 7226932 h 7226932"/>
              <a:gd name="connsiteX6" fmla="*/ 586978 w 586978"/>
              <a:gd name="connsiteY6" fmla="*/ 7226932 h 7226932"/>
              <a:gd name="connsiteX7" fmla="*/ 0 w 586978"/>
              <a:gd name="connsiteY7" fmla="*/ 7226932 h 7226932"/>
              <a:gd name="connsiteX8" fmla="*/ 0 w 586978"/>
              <a:gd name="connsiteY8" fmla="*/ 7226932 h 7226932"/>
              <a:gd name="connsiteX9" fmla="*/ 0 w 586978"/>
              <a:gd name="connsiteY9" fmla="*/ 7226932 h 7226932"/>
              <a:gd name="connsiteX10" fmla="*/ 0 w 586978"/>
              <a:gd name="connsiteY10" fmla="*/ 97832 h 7226932"/>
              <a:gd name="connsiteX11" fmla="*/ 28654 w 586978"/>
              <a:gd name="connsiteY11" fmla="*/ 28654 h 7226932"/>
              <a:gd name="connsiteX12" fmla="*/ 97832 w 586978"/>
              <a:gd name="connsiteY12" fmla="*/ 0 h 7226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86978" h="7226932">
                <a:moveTo>
                  <a:pt x="586978" y="1204521"/>
                </a:moveTo>
                <a:lnTo>
                  <a:pt x="586978" y="6022411"/>
                </a:lnTo>
                <a:cubicBezTo>
                  <a:pt x="586978" y="6341872"/>
                  <a:pt x="586141" y="6648246"/>
                  <a:pt x="584651" y="6874136"/>
                </a:cubicBezTo>
                <a:cubicBezTo>
                  <a:pt x="583161" y="7100025"/>
                  <a:pt x="581139" y="7226926"/>
                  <a:pt x="579032" y="7226926"/>
                </a:cubicBezTo>
                <a:lnTo>
                  <a:pt x="0" y="7226926"/>
                </a:lnTo>
                <a:lnTo>
                  <a:pt x="0" y="7226926"/>
                </a:lnTo>
                <a:lnTo>
                  <a:pt x="0" y="7226926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579032" y="6"/>
                </a:lnTo>
                <a:cubicBezTo>
                  <a:pt x="581139" y="6"/>
                  <a:pt x="583161" y="126907"/>
                  <a:pt x="584651" y="352796"/>
                </a:cubicBezTo>
                <a:cubicBezTo>
                  <a:pt x="586141" y="578686"/>
                  <a:pt x="586978" y="885060"/>
                  <a:pt x="586978" y="1204521"/>
                </a:cubicBezTo>
                <a:close/>
              </a:path>
            </a:pathLst>
          </a:custGeom>
          <a:solidFill>
            <a:srgbClr val="C0F6D2">
              <a:alpha val="89804"/>
            </a:srgbClr>
          </a:solidFill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7150" tIns="57230" rIns="85804" bIns="57230" numCol="1" spcCol="1270" anchor="ctr" anchorCtr="0">
            <a:noAutofit/>
          </a:bodyPr>
          <a:lstStyle/>
          <a:p>
            <a:pPr marL="114300" lvl="1" indent="-114300" algn="l" defTabSz="6667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endParaRPr lang="ru-RU" sz="1500" kern="1200" dirty="0"/>
          </a:p>
          <a:p>
            <a:pPr marL="114300" lvl="1" indent="-114300" algn="l" defTabSz="6667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har char="••"/>
            </a:pPr>
            <a:r>
              <a:rPr lang="ru-RU" sz="1400" kern="1200" dirty="0" smtClean="0"/>
              <a:t>Исполнение бюджета. Внесение изменений в решение о бюджете в процессе его исполнения</a:t>
            </a:r>
            <a:endParaRPr lang="ru-RU" sz="1400" kern="1200" dirty="0"/>
          </a:p>
        </p:txBody>
      </p:sp>
      <p:sp>
        <p:nvSpPr>
          <p:cNvPr id="84" name="Заголовок 1"/>
          <p:cNvSpPr txBox="1">
            <a:spLocks/>
          </p:cNvSpPr>
          <p:nvPr/>
        </p:nvSpPr>
        <p:spPr>
          <a:xfrm>
            <a:off x="228600" y="6400800"/>
            <a:ext cx="8763000" cy="457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cap="sq">
            <a:noFill/>
            <a:prstDash val="solid"/>
          </a:ln>
        </p:spPr>
        <p:txBody>
          <a:bodyPr vert="horz" lIns="0" rIns="0" bIns="0" anchor="b">
            <a:no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1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Batang" pitchFamily="18" charset="-127"/>
                <a:cs typeface="Arial" pitchFamily="34" charset="0"/>
              </a:rPr>
              <a:t>* В соответствии с решением Думы Тайшетского района от </a:t>
            </a:r>
            <a:r>
              <a:rPr kumimoji="0" lang="ru-RU" sz="1400" b="0" i="1" strike="noStrike" kern="120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itchFamily="18" charset="0"/>
                <a:ea typeface="Batang" pitchFamily="18" charset="-127"/>
                <a:cs typeface="Times New Roman" pitchFamily="18" charset="0"/>
              </a:rPr>
              <a:t>24.12.2007</a:t>
            </a:r>
            <a:r>
              <a:rPr kumimoji="0" lang="ru-RU" sz="1400" b="0" i="1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itchFamily="18" charset="0"/>
                <a:ea typeface="Batang" pitchFamily="18" charset="-127"/>
                <a:cs typeface="Times New Roman" pitchFamily="18" charset="0"/>
              </a:rPr>
              <a:t> года № 283 </a:t>
            </a:r>
            <a:r>
              <a:rPr kumimoji="0" lang="ru-RU" sz="1400" b="0" i="1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Batang" pitchFamily="18" charset="-127"/>
                <a:cs typeface="Arial" pitchFamily="34" charset="0"/>
              </a:rPr>
              <a:t>«Об утверждении</a:t>
            </a:r>
            <a:r>
              <a:rPr kumimoji="0" lang="ru-RU" sz="1400" b="0" i="1" strike="noStrike" kern="120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Batang" pitchFamily="18" charset="-127"/>
                <a:cs typeface="Arial" pitchFamily="34" charset="0"/>
              </a:rPr>
              <a:t> Положения о бюджетном процессе в муниципальном образовании «Тайшетский район»</a:t>
            </a:r>
            <a:endParaRPr kumimoji="0" lang="ru-RU" sz="1400" b="0" i="1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3" name="Заголовок 1"/>
          <p:cNvSpPr txBox="1">
            <a:spLocks/>
          </p:cNvSpPr>
          <p:nvPr/>
        </p:nvSpPr>
        <p:spPr>
          <a:xfrm>
            <a:off x="1143000" y="152400"/>
            <a:ext cx="7848600" cy="533400"/>
          </a:xfrm>
          <a:prstGeom prst="rect">
            <a:avLst/>
          </a:prstGeom>
          <a:solidFill>
            <a:schemeClr val="bg1"/>
          </a:solidFill>
          <a:ln>
            <a:solidFill>
              <a:srgbClr val="7030A0"/>
            </a:solidFill>
          </a:ln>
        </p:spPr>
        <p:txBody>
          <a:bodyPr anchor="ctr" anchorCtr="1">
            <a:normAutofit fontScale="85000" lnSpcReduction="10000"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ru-RU" sz="1600" cap="all" dirty="0" smtClean="0">
                <a:solidFill>
                  <a:srgbClr val="7030A0"/>
                </a:solidFill>
              </a:rPr>
              <a:t>реализация муниципальной программы </a:t>
            </a:r>
            <a:r>
              <a:rPr lang="ru-RU" sz="1600" cap="all" dirty="0" smtClean="0">
                <a:ln/>
                <a:solidFill>
                  <a:srgbClr val="7030A0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>Социальная поддержка отдельных категорий населения муниципального образования «Тайшетский район»</a:t>
            </a:r>
            <a:r>
              <a:rPr kumimoji="0" lang="ru-RU" sz="16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за 201</a:t>
            </a:r>
            <a:r>
              <a:rPr kumimoji="0" lang="en-US" sz="16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7</a:t>
            </a:r>
            <a:r>
              <a:rPr kumimoji="0" lang="ru-RU" sz="16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год</a:t>
            </a:r>
            <a:endParaRPr kumimoji="0" lang="ru-RU" sz="16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4" name="Содержимое 3"/>
          <p:cNvGraphicFramePr>
            <a:graphicFrameLocks/>
          </p:cNvGraphicFramePr>
          <p:nvPr/>
        </p:nvGraphicFramePr>
        <p:xfrm>
          <a:off x="304800" y="990600"/>
          <a:ext cx="8686800" cy="3533397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6019800"/>
                <a:gridCol w="609600"/>
                <a:gridCol w="685800"/>
                <a:gridCol w="609600"/>
                <a:gridCol w="762000"/>
              </a:tblGrid>
              <a:tr h="477809">
                <a:tc>
                  <a:txBody>
                    <a:bodyPr/>
                    <a:lstStyle/>
                    <a:p>
                      <a:pPr algn="ctr"/>
                      <a:r>
                        <a:rPr kumimoji="0" lang="ru-RU" sz="1200" kern="1200" dirty="0" smtClean="0"/>
                        <a:t>Основные</a:t>
                      </a:r>
                      <a:r>
                        <a:rPr kumimoji="0" lang="ru-RU" sz="1200" kern="1200" baseline="0" dirty="0" smtClean="0"/>
                        <a:t> </a:t>
                      </a:r>
                      <a:r>
                        <a:rPr kumimoji="0" lang="ru-RU" sz="1200" kern="1200" dirty="0" smtClean="0"/>
                        <a:t>целевые</a:t>
                      </a:r>
                      <a:r>
                        <a:rPr kumimoji="0" lang="ru-RU" sz="1200" kern="1200" baseline="0" dirty="0" smtClean="0"/>
                        <a:t> </a:t>
                      </a:r>
                      <a:r>
                        <a:rPr kumimoji="0" lang="ru-RU" sz="1200" kern="1200" dirty="0" smtClean="0"/>
                        <a:t>показатели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ru-RU" sz="1200" kern="1200" dirty="0" smtClean="0"/>
                        <a:t>Ед. </a:t>
                      </a:r>
                      <a:r>
                        <a:rPr kumimoji="0" lang="ru-RU" sz="1200" kern="1200" dirty="0" err="1" smtClean="0"/>
                        <a:t>изм</a:t>
                      </a:r>
                      <a:r>
                        <a:rPr kumimoji="0" lang="ru-RU" sz="1200" kern="1200" dirty="0" smtClean="0"/>
                        <a:t>.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</a:t>
                      </a:r>
                      <a:r>
                        <a:rPr lang="en-US" sz="1200" dirty="0" smtClean="0"/>
                        <a:t>6</a:t>
                      </a:r>
                      <a:r>
                        <a:rPr lang="ru-RU" sz="1200" dirty="0" smtClean="0"/>
                        <a:t> (факт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</a:t>
                      </a:r>
                      <a:r>
                        <a:rPr lang="en-US" sz="1200" dirty="0" smtClean="0"/>
                        <a:t>7</a:t>
                      </a:r>
                      <a:r>
                        <a:rPr lang="ru-RU" sz="1200" dirty="0" smtClean="0"/>
                        <a:t> (план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</a:t>
                      </a:r>
                      <a:r>
                        <a:rPr lang="en-US" sz="1200" dirty="0" smtClean="0"/>
                        <a:t>7</a:t>
                      </a:r>
                      <a:r>
                        <a:rPr lang="ru-RU" sz="1200" dirty="0" smtClean="0"/>
                        <a:t> (факт)</a:t>
                      </a:r>
                      <a:endParaRPr lang="ru-RU" sz="1200" dirty="0"/>
                    </a:p>
                  </a:txBody>
                  <a:tcPr/>
                </a:tc>
              </a:tr>
              <a:tr h="573370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Исполнение  субвенций на реализацию переданных  областных государственных  полномочий по предос­тавлению гражданам субсидий на оплату жилых помещений и коммунальных услуг </a:t>
                      </a:r>
                      <a:endParaRPr lang="ru-RU" sz="12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%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kern="15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00,0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kern="15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00,0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100,0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400" marR="68400" marT="0" marB="0" anchor="ctr"/>
                </a:tc>
              </a:tr>
              <a:tr h="764494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Реализация  прав граждан, замещавших должности муниципальной службы Тайшетского района на пенсионное обеспечение за выслугу лет,  реализация прав граждан, удостоенных звания "Почетный гражданин Тайшетского района" на ежемесячную денежную выплату</a:t>
                      </a:r>
                      <a:endParaRPr lang="ru-RU" sz="12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%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kern="15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00,0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kern="150" dirty="0" smtClean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00,0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100,0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400" marR="68400" marT="0" marB="0" anchor="ctr"/>
                </a:tc>
              </a:tr>
              <a:tr h="64650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Количество социально значимых культурно-массовых мероприятий проведенных социально ориентированными некоммерческими организациями при поддержке администрации Тайшетского района</a:t>
                      </a:r>
                      <a:endParaRPr lang="ru-RU" sz="1200" dirty="0"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Ед.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kern="15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5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kern="150" dirty="0">
                          <a:solidFill>
                            <a:srgbClr val="000000"/>
                          </a:solidFill>
                          <a:latin typeface="Times New Roman"/>
                          <a:ea typeface="Times New Roman"/>
                          <a:cs typeface="Times New Roman"/>
                        </a:rPr>
                        <a:t>15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   15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400" marR="68400" marT="0" marB="0" anchor="ctr"/>
                </a:tc>
              </a:tr>
              <a:tr h="64550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Доля педагогических работников образовательных организаций, прошедших специальную подготовку для работы с инвалидами от общего числа педагогических работников образовательных учреждений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%</a:t>
                      </a:r>
                      <a:endParaRPr lang="ru-RU" sz="10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30,0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45,0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endParaRPr lang="ru-RU" sz="12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  30,3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400" marR="68400" marT="0" marB="0"/>
                </a:tc>
              </a:tr>
              <a:tr h="425715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Доля доступных для инвалидов и других маломобильных групп населения объектов культуры 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%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25,0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44,0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  44,0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400" marR="68400" marT="0" marB="0" anchor="ctr"/>
                </a:tc>
              </a:tr>
            </a:tbl>
          </a:graphicData>
        </a:graphic>
      </p:graphicFrame>
      <p:sp>
        <p:nvSpPr>
          <p:cNvPr id="7" name="Содержимое 2"/>
          <p:cNvSpPr txBox="1">
            <a:spLocks/>
          </p:cNvSpPr>
          <p:nvPr/>
        </p:nvSpPr>
        <p:spPr>
          <a:xfrm>
            <a:off x="304800" y="4800600"/>
            <a:ext cx="4267200" cy="18288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normAutofit fontScale="92500"/>
          </a:bodyPr>
          <a:lstStyle/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v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Общая численность обратившихся</a:t>
            </a:r>
            <a:r>
              <a:rPr kumimoji="0" lang="ru-RU" sz="14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граждан за получением субсидий на оплату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жилых помещений и коммунальных услуг составила 14 812 человек.</a:t>
            </a:r>
          </a:p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v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В 2017 году количество</a:t>
            </a:r>
            <a:r>
              <a:rPr kumimoji="0" lang="ru-RU" sz="14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получателей данной субсидии составило </a:t>
            </a:r>
            <a:r>
              <a:rPr kumimoji="0" lang="ru-RU" sz="1400" b="1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11 616 </a:t>
            </a:r>
            <a:r>
              <a:rPr kumimoji="0" lang="ru-RU" sz="14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человек или 15,7% всего населения Тайшетского района, из них одиноко проживающие пенсионеры, инвалиды – 2 999 человек, отдельно проживающие пенсионеры, инвалиды – 603 человека.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pic>
        <p:nvPicPr>
          <p:cNvPr id="4098" name="Picture 2" descr="C:\Users\finupr\Desktop\1fbf789e3b08673f643f3de7194132b0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333999" y="4724401"/>
            <a:ext cx="3581401" cy="1828799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3" name="Заголовок 1"/>
          <p:cNvSpPr txBox="1">
            <a:spLocks/>
          </p:cNvSpPr>
          <p:nvPr/>
        </p:nvSpPr>
        <p:spPr>
          <a:xfrm>
            <a:off x="1143000" y="152400"/>
            <a:ext cx="7848600" cy="533400"/>
          </a:xfrm>
          <a:prstGeom prst="rect">
            <a:avLst/>
          </a:prstGeom>
          <a:solidFill>
            <a:schemeClr val="bg1"/>
          </a:solidFill>
          <a:ln>
            <a:solidFill>
              <a:srgbClr val="7030A0"/>
            </a:solidFill>
          </a:ln>
        </p:spPr>
        <p:txBody>
          <a:bodyPr anchor="ctr" anchorCtr="1">
            <a:normAutofit fontScale="85000" lnSpcReduction="10000"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ru-RU" sz="1600" cap="all" dirty="0" smtClean="0">
                <a:solidFill>
                  <a:srgbClr val="7030A0"/>
                </a:solidFill>
              </a:rPr>
              <a:t>реализация муниципальной программы </a:t>
            </a:r>
            <a:r>
              <a:rPr lang="ru-RU" sz="1600" cap="all" dirty="0" smtClean="0">
                <a:ln/>
                <a:solidFill>
                  <a:srgbClr val="7030A0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>Социальная поддержка отдельных категорий населения муниципального образования «Тайшетский район»</a:t>
            </a:r>
            <a:r>
              <a:rPr kumimoji="0" lang="ru-RU" sz="16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за 201</a:t>
            </a:r>
            <a:r>
              <a:rPr kumimoji="0" lang="en-US" sz="16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7</a:t>
            </a:r>
            <a:r>
              <a:rPr kumimoji="0" lang="ru-RU" sz="16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год</a:t>
            </a:r>
            <a:endParaRPr kumimoji="0" lang="ru-RU" sz="16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" name="Содержимое 2"/>
          <p:cNvSpPr txBox="1">
            <a:spLocks/>
          </p:cNvSpPr>
          <p:nvPr/>
        </p:nvSpPr>
        <p:spPr>
          <a:xfrm>
            <a:off x="152400" y="1219200"/>
            <a:ext cx="3429000" cy="39624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normAutofit lnSpcReduction="10000"/>
          </a:bodyPr>
          <a:lstStyle/>
          <a:p>
            <a:pPr lvl="0" algn="just">
              <a:spcBef>
                <a:spcPct val="20000"/>
              </a:spcBef>
              <a:buClr>
                <a:schemeClr val="accent1"/>
              </a:buClr>
              <a:buSzPct val="70000"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 	В 2017 году проведены</a:t>
            </a:r>
            <a:r>
              <a:rPr kumimoji="0" lang="ru-RU" sz="12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мероприятия,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относящиеся к полномочиям органов местного самоуправления по решению вопросов поддержки социально ориентированных некоммерческих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организаций (далее- НКО):</a:t>
            </a:r>
            <a:endParaRPr lang="ru-RU" sz="1200" dirty="0" smtClean="0">
              <a:latin typeface="Times New Roman" pitchFamily="18" charset="0"/>
              <a:cs typeface="Times New Roman" pitchFamily="18" charset="0"/>
            </a:endParaRPr>
          </a:p>
          <a:p>
            <a:pPr lvl="0" algn="just">
              <a:spcBef>
                <a:spcPct val="20000"/>
              </a:spcBef>
              <a:buClr>
                <a:schemeClr val="accent1"/>
              </a:buClr>
              <a:buSzPct val="70000"/>
              <a:defRPr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- предоставлены 7 консультаций;</a:t>
            </a:r>
          </a:p>
          <a:p>
            <a:pPr lvl="0" algn="just">
              <a:spcBef>
                <a:spcPct val="20000"/>
              </a:spcBef>
              <a:buClr>
                <a:schemeClr val="accent1"/>
              </a:buClr>
              <a:buSzPct val="70000"/>
              <a:defRPr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-размещено 10 публикаций в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средствах массовой информации о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деятельности НКО, благотворительной и добровольческой деятельности;</a:t>
            </a:r>
          </a:p>
          <a:p>
            <a:pPr lvl="0" algn="just">
              <a:spcBef>
                <a:spcPct val="20000"/>
              </a:spcBef>
              <a:buClr>
                <a:schemeClr val="accent1"/>
              </a:buClr>
              <a:buSzPct val="70000"/>
              <a:defRPr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-опубликовано на официальном сайте администрации Тайшетского района 20 публикаций о планируемых и осуществленных мероприятиях социально ориентированных некоммерческих организаций, освещение результатов деятельности НКО в муниципальной телепрограмме «Время новостей»</a:t>
            </a:r>
          </a:p>
          <a:p>
            <a:pPr lvl="0" algn="just">
              <a:spcBef>
                <a:spcPct val="20000"/>
              </a:spcBef>
              <a:buClr>
                <a:schemeClr val="accent1"/>
              </a:buClr>
              <a:buSzPct val="70000"/>
              <a:buFontTx/>
              <a:buChar char="-"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- оказана поддержка в проведении благотворительных акциях и социально</a:t>
            </a:r>
            <a:r>
              <a:rPr kumimoji="0" lang="ru-RU" sz="12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cs typeface="Times New Roman" pitchFamily="18" charset="0"/>
              </a:rPr>
              <a:t> значимых культурно-массовых мероприятиях (конкурсы, праздники, юбилеи)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Содержимое 2"/>
          <p:cNvSpPr txBox="1">
            <a:spLocks/>
          </p:cNvSpPr>
          <p:nvPr/>
        </p:nvSpPr>
        <p:spPr>
          <a:xfrm>
            <a:off x="3886200" y="4038600"/>
            <a:ext cx="5029200" cy="245605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Проведены мероприятия</a:t>
            </a:r>
            <a:r>
              <a:rPr lang="ru-RU" sz="1200" baseline="0" dirty="0" smtClean="0">
                <a:latin typeface="Times New Roman" pitchFamily="18" charset="0"/>
                <a:cs typeface="Times New Roman" pitchFamily="18" charset="0"/>
              </a:rPr>
              <a:t>,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обеспечивающие доступность объектов социальной инфраструктуры для инвалидов и других маломобильных групп населения в сумме 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540,7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тыс. рублей, в том числе:</a:t>
            </a:r>
          </a:p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-ремонт крыльца, установка пандусов у основного входа в учреждениях</a:t>
            </a:r>
            <a:r>
              <a:rPr kumimoji="0" lang="ru-RU" sz="12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культуры в сумме 423,9 тыс. рублей;</a:t>
            </a:r>
          </a:p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Tx/>
              <a:buChar char="-"/>
              <a:tabLst/>
              <a:defRPr/>
            </a:pPr>
            <a:r>
              <a:rPr lang="ru-RU" sz="1200" baseline="0" dirty="0" smtClean="0">
                <a:latin typeface="Times New Roman" pitchFamily="18" charset="0"/>
                <a:cs typeface="Times New Roman" pitchFamily="18" charset="0"/>
              </a:rPr>
              <a:t>приобретение  вспомогательных средств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для создания безбарьерной среды жизнедеятельности инвалидов в сумме 26,7 тыс. рублей;</a:t>
            </a:r>
          </a:p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Tx/>
              <a:buChar char="-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- размещение оборудования и носителей информации для обеспечения инвалидов в сумме 45,1 тыс. рублей;</a:t>
            </a:r>
          </a:p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Tx/>
              <a:buChar char="-"/>
              <a:tabLst/>
              <a:defRPr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- повышение квалификации педагогов для оказания образовательных услуг детям – инвалидам и детям с ограниченной возможностью здоровья в сумме – 45,0 тыс. рублей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6" name="Содержимое 2"/>
          <p:cNvSpPr txBox="1">
            <a:spLocks/>
          </p:cNvSpPr>
          <p:nvPr/>
        </p:nvSpPr>
        <p:spPr>
          <a:xfrm>
            <a:off x="3962400" y="1143000"/>
            <a:ext cx="4953000" cy="13716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>
            <a:normAutofit fontScale="85000" lnSpcReduction="20000"/>
          </a:bodyPr>
          <a:lstStyle/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" pitchFamily="2" charset="2"/>
              <a:buChar char="v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В 2017 году социальную поддержку отдельных категорий граждан получили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98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человек,</a:t>
            </a:r>
            <a:r>
              <a:rPr kumimoji="0" lang="ru-RU" sz="14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в том числе:</a:t>
            </a:r>
          </a:p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Tx/>
              <a:buChar char="-"/>
              <a:tabLst/>
              <a:defRPr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единовременное премирование лиц, удостоенных Почетного звания «Почетный гражданин Тайшетского района» - 1 человек;</a:t>
            </a:r>
          </a:p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Tx/>
              <a:buChar char="-"/>
              <a:tabLst/>
              <a:defRPr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Ежемесячная денежная выплата гражданам, удостоенным Почетного звания «Почетный гражданин Тайшетского района» – 19 человек;</a:t>
            </a:r>
          </a:p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tabLst/>
              <a:defRPr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-пенсия за выслугу лет гражданину, замещавшему должность муниципальной службы – 78 человек.</a:t>
            </a:r>
          </a:p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tabLst/>
              <a:defRPr/>
            </a:pP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pic>
        <p:nvPicPr>
          <p:cNvPr id="3074" name="Picture 2" descr="C:\Users\finupr\Desktop\5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143374" y="2733675"/>
            <a:ext cx="4772025" cy="1152525"/>
          </a:xfrm>
          <a:prstGeom prst="rect">
            <a:avLst/>
          </a:prstGeom>
          <a:noFill/>
        </p:spPr>
      </p:pic>
      <p:pic>
        <p:nvPicPr>
          <p:cNvPr id="3079" name="Picture 7" descr="C:\Users\finupr\Desktop\nko_0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04800" y="5410200"/>
            <a:ext cx="3352800" cy="11430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914400" y="304800"/>
            <a:ext cx="7772400" cy="609600"/>
          </a:xfrm>
          <a:solidFill>
            <a:schemeClr val="bg1"/>
          </a:solidFill>
          <a:ln>
            <a:solidFill>
              <a:srgbClr val="00B050"/>
            </a:solidFill>
          </a:ln>
        </p:spPr>
        <p:txBody>
          <a:bodyPr>
            <a:normAutofit/>
          </a:bodyPr>
          <a:lstStyle/>
          <a:p>
            <a:pPr algn="ctr"/>
            <a:r>
              <a:rPr lang="ru-RU" sz="1600" cap="all" dirty="0" smtClean="0">
                <a:ln/>
                <a:solidFill>
                  <a:srgbClr val="7030A0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</a:rPr>
              <a:t>Муниципальная программа «муниципальное  Управление»                                 на 2015– 2019 годы»</a:t>
            </a:r>
            <a:endParaRPr lang="ru-RU" sz="1600" dirty="0">
              <a:solidFill>
                <a:srgbClr val="7030A0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</a:effectLst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57200" y="1066800"/>
            <a:ext cx="5334000" cy="49244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sz="1300" dirty="0" smtClean="0">
                <a:latin typeface="Palatino Linotype" pitchFamily="18" charset="0"/>
              </a:rPr>
              <a:t>Цель программы – повышение эффективности деятельности администрации Тайшетского района</a:t>
            </a:r>
            <a:endParaRPr lang="ru-RU" sz="1300" b="1" dirty="0" smtClean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Palatino Linotype" pitchFamily="18" charset="0"/>
            </a:endParaRPr>
          </a:p>
        </p:txBody>
      </p:sp>
      <p:sp>
        <p:nvSpPr>
          <p:cNvPr id="7" name="Содержимое 2"/>
          <p:cNvSpPr txBox="1">
            <a:spLocks/>
          </p:cNvSpPr>
          <p:nvPr/>
        </p:nvSpPr>
        <p:spPr>
          <a:xfrm>
            <a:off x="457200" y="1752600"/>
            <a:ext cx="8305800" cy="12954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>
            <a:normAutofit/>
          </a:bodyPr>
          <a:lstStyle/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Для достижения цели Программы определены следующие задачи: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Создание условий для осуществления деятельности администрации Тайшетского района по решению вопросов местного значения и исполнения переданных</a:t>
            </a:r>
            <a:r>
              <a:rPr kumimoji="0" lang="ru-RU" sz="12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полномочий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Реализация областной и районной политики в области охраны труда,</a:t>
            </a:r>
            <a:r>
              <a:rPr kumimoji="0" lang="ru-RU" sz="12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обеспечивающей сохранение жизни, здоровья и профессиональной активности работников в процессе трудовой деятельности, как приоритетной составляющей социально – экономического развития Тайшетского района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9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10" name="Заголовок 1"/>
          <p:cNvSpPr txBox="1">
            <a:spLocks/>
          </p:cNvSpPr>
          <p:nvPr/>
        </p:nvSpPr>
        <p:spPr>
          <a:xfrm>
            <a:off x="2743200" y="3276600"/>
            <a:ext cx="6172200" cy="5334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Финансовое обеспечение реализации муниципальной программы</a:t>
            </a:r>
            <a:r>
              <a:rPr kumimoji="0" lang="ru-RU" sz="1200" b="0" i="0" u="none" strike="noStrike" kern="1200" cap="all" spc="0" normalizeH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«Муниципальное управление» </a:t>
            </a: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за 2017 год</a:t>
            </a:r>
            <a:endParaRPr kumimoji="0" lang="ru-RU" sz="12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2" name="Заголовок 1"/>
          <p:cNvSpPr txBox="1">
            <a:spLocks/>
          </p:cNvSpPr>
          <p:nvPr/>
        </p:nvSpPr>
        <p:spPr>
          <a:xfrm>
            <a:off x="7543800" y="3886200"/>
            <a:ext cx="1371600" cy="3048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Тыс. рублей</a:t>
            </a:r>
            <a:endParaRPr kumimoji="0" lang="ru-RU" sz="8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14" name="Содержимое 17"/>
          <p:cNvGraphicFramePr>
            <a:graphicFrameLocks/>
          </p:cNvGraphicFramePr>
          <p:nvPr/>
        </p:nvGraphicFramePr>
        <p:xfrm>
          <a:off x="2514600" y="4267199"/>
          <a:ext cx="6400800" cy="1929767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094807"/>
                <a:gridCol w="1280160"/>
                <a:gridCol w="1280160"/>
                <a:gridCol w="1745673"/>
              </a:tblGrid>
              <a:tr h="328864"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План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Факт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Исполнение, %</a:t>
                      </a:r>
                      <a:endParaRPr lang="ru-RU" sz="1000" dirty="0"/>
                    </a:p>
                  </a:txBody>
                  <a:tcPr/>
                </a:tc>
              </a:tr>
              <a:tr h="30360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Всего</a:t>
                      </a:r>
                      <a:r>
                        <a:rPr lang="ru-RU" sz="1200" baseline="0" dirty="0" smtClean="0"/>
                        <a:t> расходов</a:t>
                      </a:r>
                      <a:endParaRPr lang="ru-RU" sz="12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/>
                        <a:t>68 473,1</a:t>
                      </a:r>
                      <a:endParaRPr lang="ru-RU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/>
                        <a:t>63 564,3</a:t>
                      </a:r>
                      <a:endParaRPr lang="ru-RU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/>
                        <a:t>92,8</a:t>
                      </a:r>
                      <a:endParaRPr lang="ru-RU" sz="1200" b="0" dirty="0"/>
                    </a:p>
                  </a:txBody>
                  <a:tcPr/>
                </a:tc>
              </a:tr>
              <a:tr h="432433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Областной бюджет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6 307,0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5 882,4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93,3</a:t>
                      </a:r>
                      <a:endParaRPr lang="ru-RU" sz="1200" dirty="0"/>
                    </a:p>
                  </a:txBody>
                  <a:tcPr/>
                </a:tc>
              </a:tr>
              <a:tr h="432433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Районный бюджет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60 538,8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56 310,6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93,0</a:t>
                      </a:r>
                      <a:endParaRPr lang="ru-RU" sz="1200" dirty="0"/>
                    </a:p>
                  </a:txBody>
                  <a:tcPr/>
                </a:tc>
              </a:tr>
              <a:tr h="432433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Бюджеты</a:t>
                      </a:r>
                      <a:r>
                        <a:rPr lang="ru-RU" sz="1200" baseline="0" dirty="0" smtClean="0"/>
                        <a:t> поселений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 627,3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1 371,3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84,3</a:t>
                      </a:r>
                      <a:endParaRPr lang="ru-RU" sz="12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1" name="Скругленный прямоугольник 10"/>
          <p:cNvSpPr/>
          <p:nvPr/>
        </p:nvSpPr>
        <p:spPr>
          <a:xfrm>
            <a:off x="6096000" y="990600"/>
            <a:ext cx="2743200" cy="685800"/>
          </a:xfrm>
          <a:prstGeom prst="roundRect">
            <a:avLst/>
          </a:prstGeom>
          <a:solidFill>
            <a:srgbClr val="FFFF99"/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latin typeface="Palatino Linotype" pitchFamily="18" charset="0"/>
              </a:rPr>
              <a:t>Ответственный исполнитель Программы – Администрация Тайшетского района</a:t>
            </a:r>
            <a:endParaRPr lang="ru-RU" sz="1000" b="1" dirty="0" smtClean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Palatino Linotype" pitchFamily="18" charset="0"/>
            </a:endParaRPr>
          </a:p>
        </p:txBody>
      </p:sp>
      <p:pic>
        <p:nvPicPr>
          <p:cNvPr id="2" name="Picture 2" descr="C:\Users\finupr\Desktop\img7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38125" y="3810000"/>
            <a:ext cx="2047875" cy="20574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Содержимое 3"/>
          <p:cNvGraphicFramePr>
            <a:graphicFrameLocks/>
          </p:cNvGraphicFramePr>
          <p:nvPr/>
        </p:nvGraphicFramePr>
        <p:xfrm>
          <a:off x="1143000" y="838200"/>
          <a:ext cx="7696200" cy="2514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Заголовок 1"/>
          <p:cNvSpPr txBox="1">
            <a:spLocks/>
          </p:cNvSpPr>
          <p:nvPr/>
        </p:nvSpPr>
        <p:spPr>
          <a:xfrm>
            <a:off x="1371600" y="152400"/>
            <a:ext cx="7543800" cy="5334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реализация муниципальной программы</a:t>
            </a:r>
            <a:r>
              <a:rPr kumimoji="0" lang="ru-RU" sz="1200" b="0" i="0" u="none" strike="noStrike" kern="1200" cap="all" spc="0" normalizeH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«Муниципальное управление» </a:t>
            </a: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за 2017 год</a:t>
            </a:r>
            <a:endParaRPr kumimoji="0" lang="ru-RU" sz="12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5" name="Picture 2" descr="C:\Users\finupr\Desktop\gerb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graphicFrame>
        <p:nvGraphicFramePr>
          <p:cNvPr id="6" name="Содержимое 3"/>
          <p:cNvGraphicFramePr>
            <a:graphicFrameLocks/>
          </p:cNvGraphicFramePr>
          <p:nvPr/>
        </p:nvGraphicFramePr>
        <p:xfrm>
          <a:off x="228600" y="3505201"/>
          <a:ext cx="8763000" cy="3124199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6248400"/>
                <a:gridCol w="533400"/>
                <a:gridCol w="609600"/>
                <a:gridCol w="609600"/>
                <a:gridCol w="762000"/>
              </a:tblGrid>
              <a:tr h="501106">
                <a:tc>
                  <a:txBody>
                    <a:bodyPr/>
                    <a:lstStyle/>
                    <a:p>
                      <a:pPr algn="ctr"/>
                      <a:r>
                        <a:rPr kumimoji="0" lang="ru-RU" sz="1200" kern="1200" dirty="0" smtClean="0"/>
                        <a:t>Основные</a:t>
                      </a:r>
                      <a:r>
                        <a:rPr kumimoji="0" lang="ru-RU" sz="1200" kern="1200" baseline="0" dirty="0" smtClean="0"/>
                        <a:t> </a:t>
                      </a:r>
                      <a:r>
                        <a:rPr kumimoji="0" lang="ru-RU" sz="1200" kern="1200" dirty="0" smtClean="0"/>
                        <a:t>целевые</a:t>
                      </a:r>
                      <a:r>
                        <a:rPr kumimoji="0" lang="ru-RU" sz="1200" kern="1200" baseline="0" dirty="0" smtClean="0"/>
                        <a:t> </a:t>
                      </a:r>
                      <a:r>
                        <a:rPr kumimoji="0" lang="ru-RU" sz="1200" kern="1200" dirty="0" smtClean="0"/>
                        <a:t>показатели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ru-RU" sz="1200" kern="1200" dirty="0" smtClean="0"/>
                        <a:t>Ед. </a:t>
                      </a:r>
                      <a:r>
                        <a:rPr kumimoji="0" lang="ru-RU" sz="1200" kern="1200" dirty="0" err="1" smtClean="0"/>
                        <a:t>изм</a:t>
                      </a:r>
                      <a:r>
                        <a:rPr kumimoji="0" lang="ru-RU" sz="1200" kern="1200" dirty="0" smtClean="0"/>
                        <a:t>.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6 (факт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7 (план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7 (факт)</a:t>
                      </a:r>
                      <a:endParaRPr lang="ru-RU" sz="1200" dirty="0"/>
                    </a:p>
                  </a:txBody>
                  <a:tcPr/>
                </a:tc>
              </a:tr>
              <a:tr h="400885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Доля проектов нормативных правовых актов, в отношении которых проведена антикоррупционная экспертиза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%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00,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00,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00,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</a:tr>
              <a:tr h="80177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Удельный вес рассмотренных  дел об административных правонарушениях от общего количества дел об административных правонарушениях в рамках  осуществления переданных </a:t>
                      </a:r>
                      <a:r>
                        <a:rPr lang="ru-RU" sz="1200" spc="-5" dirty="0">
                          <a:latin typeface="Times New Roman"/>
                          <a:ea typeface="Times New Roman"/>
                          <a:cs typeface="Times New Roman"/>
                        </a:rPr>
                        <a:t>государственных полномочий административной </a:t>
                      </a: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комиссией по рассмотрению дел об административных правонарушениях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%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00,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00,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00,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</a:tr>
              <a:tr h="601328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Доля руководителей и специалистов, обученных и прошедших проверку знаний требований охраны труда, от общего количества  руководителей и специалистов, подлежащих обучению в соответствующем текущем году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%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00,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00,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00,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</a:tr>
              <a:tr h="40955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 плановых контрольных мероприятий, проведенных в  учреждениях, </a:t>
                      </a: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подлежащих </a:t>
                      </a: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ведомственному контролю 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%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0,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00,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00,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</a:tr>
              <a:tr h="40955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</a:rPr>
                        <a:t>Удельный вес муниципальных служащих, успешно прошедших аттестацию от числа муниципальных служащих, включенных в график прохождения аттестации 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%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00,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00,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00,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</a:tr>
            </a:tbl>
          </a:graphicData>
        </a:graphic>
      </p:graphicFrame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"/>
            <a:ext cx="914399" cy="1066800"/>
          </a:xfrm>
          <a:prstGeom prst="rect">
            <a:avLst/>
          </a:prstGeom>
          <a:noFill/>
        </p:spPr>
      </p:pic>
      <p:sp>
        <p:nvSpPr>
          <p:cNvPr id="3" name="Заголовок 1"/>
          <p:cNvSpPr txBox="1">
            <a:spLocks/>
          </p:cNvSpPr>
          <p:nvPr/>
        </p:nvSpPr>
        <p:spPr>
          <a:xfrm>
            <a:off x="1371600" y="152400"/>
            <a:ext cx="7543800" cy="5334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реализация муниципальной программы</a:t>
            </a:r>
            <a:r>
              <a:rPr kumimoji="0" lang="ru-RU" sz="1200" b="0" i="0" u="none" strike="noStrike" kern="1200" cap="all" spc="0" normalizeH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«Муниципальное управление» </a:t>
            </a:r>
            <a:r>
              <a:rPr kumimoji="0" lang="ru-RU" sz="12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за 2017 год</a:t>
            </a:r>
            <a:endParaRPr kumimoji="0" lang="ru-RU" sz="12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Содержимое 2"/>
          <p:cNvSpPr txBox="1">
            <a:spLocks/>
          </p:cNvSpPr>
          <p:nvPr/>
        </p:nvSpPr>
        <p:spPr>
          <a:xfrm>
            <a:off x="914400" y="838200"/>
            <a:ext cx="5791200" cy="18288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>
            <a:noAutofit/>
          </a:bodyPr>
          <a:lstStyle/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В рамках осуществления собственных полномочий.: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tabLst>
                <a:tab pos="3060700" algn="ctr"/>
              </a:tabLst>
            </a:pP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ведено </a:t>
            </a:r>
            <a:r>
              <a:rPr lang="ru-RU" sz="1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00</a:t>
            </a: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антикоррупционных экспертиз нормативно-правовых актов;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tabLst>
                <a:tab pos="3060700" algn="ctr"/>
              </a:tabLst>
            </a:pP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публиковано, размещено в средствах массовой информации </a:t>
            </a:r>
            <a:r>
              <a:rPr lang="ru-RU" sz="1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65</a:t>
            </a: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материалов деятельности администрации Тайшетского района;</a:t>
            </a:r>
          </a:p>
          <a:p>
            <a:pPr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tabLst>
                <a:tab pos="3060700" algn="ctr"/>
              </a:tabLst>
            </a:pPr>
            <a:r>
              <a:rPr lang="ru-RU" sz="1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0 </a:t>
            </a: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униципальных служащих администрации района прошли курсы повышения квалификации по теме </a:t>
            </a:r>
            <a:r>
              <a:rPr lang="ru-RU" sz="1100" dirty="0" smtClean="0"/>
              <a:t>"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Контрактная система в сфере закупок».</a:t>
            </a:r>
          </a:p>
          <a:p>
            <a:pPr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tabLst>
                <a:tab pos="3060700" algn="ctr"/>
              </a:tabLst>
            </a:pP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В 2017 году </a:t>
            </a:r>
            <a:r>
              <a:rPr lang="ru-RU" sz="11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95 человек </a:t>
            </a:r>
            <a:r>
              <a:rPr lang="ru-RU" sz="11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достоены Почетной грамотой мэра Тайшетского района  - 285,0 тыс. рублей;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tabLst>
                <a:tab pos="3060700" algn="ctr"/>
              </a:tabLst>
            </a:pPr>
            <a:endParaRPr lang="ru-RU" sz="1100" dirty="0" smtClean="0">
              <a:latin typeface="Times New Roman" pitchFamily="18" charset="0"/>
              <a:cs typeface="Times New Roman" pitchFamily="18" charset="0"/>
            </a:endParaRP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tabLst>
                <a:tab pos="3060700" algn="ctr"/>
              </a:tabLst>
            </a:pPr>
            <a:endParaRPr lang="ru-RU" sz="11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Содержимое 2"/>
          <p:cNvSpPr txBox="1">
            <a:spLocks/>
          </p:cNvSpPr>
          <p:nvPr/>
        </p:nvSpPr>
        <p:spPr>
          <a:xfrm>
            <a:off x="152400" y="5257800"/>
            <a:ext cx="6553200" cy="14478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>
            <a:noAutofit/>
          </a:bodyPr>
          <a:lstStyle/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рамках осуществления отдельных областных государственных полномочий в сфере труда.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tabLst>
                <a:tab pos="3060700" algn="ctr"/>
              </a:tabLst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шли обучение и проверку знаний требований охраны труда 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5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муниципальных служащих администрации района.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tabLst>
                <a:tab pos="3060700" algn="ctr"/>
              </a:tabLst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еспечено проведение специальной оценки условий труда 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6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рабочих мест.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tabLst>
                <a:tab pos="3060700" algn="ctr"/>
              </a:tabLst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ведено 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ри конкурса 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 охране труда. 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tabLst>
                <a:tab pos="3060700" algn="ctr"/>
              </a:tabLst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хвачено действием коллективных договоров 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5,2%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 работников организаций района.</a:t>
            </a:r>
          </a:p>
        </p:txBody>
      </p:sp>
      <p:sp>
        <p:nvSpPr>
          <p:cNvPr id="11" name="Содержимое 2"/>
          <p:cNvSpPr txBox="1">
            <a:spLocks/>
          </p:cNvSpPr>
          <p:nvPr/>
        </p:nvSpPr>
        <p:spPr>
          <a:xfrm>
            <a:off x="2895600" y="3657600"/>
            <a:ext cx="6096000" cy="1524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>
            <a:noAutofit/>
          </a:bodyPr>
          <a:lstStyle/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В рамках осуществления  областных государственных полномочий.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tabLst>
                <a:tab pos="3060700" algn="ctr"/>
              </a:tabLst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оличество объектов лицензирования, осуществляющих розничную продажу алкогольной продукции составило 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16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единиц.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tabLst>
                <a:tab pos="3060700" algn="ctr"/>
              </a:tabLst>
            </a:pP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020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запросов составлено в рамках осуществления полномочий по хранению, комплектованию, учету и использованию архивных документов.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tabLst>
                <a:tab pos="3060700" algn="ctr"/>
              </a:tabLst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Административными комиссиями по рассмотрению дел об административных правонарушениях рассмотрено 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66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дел.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tabLst>
                <a:tab pos="3060700" algn="ctr"/>
              </a:tabLst>
            </a:pPr>
            <a:endParaRPr lang="ru-RU" sz="1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Содержимое 2"/>
          <p:cNvSpPr txBox="1">
            <a:spLocks/>
          </p:cNvSpPr>
          <p:nvPr/>
        </p:nvSpPr>
        <p:spPr>
          <a:xfrm>
            <a:off x="381000" y="2895600"/>
            <a:ext cx="8610600" cy="5334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>
            <a:noAutofit/>
          </a:bodyPr>
          <a:lstStyle/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За счет средств бюджетов поселений Администрацией Тайшетского района исполнены переданные отдельные полномочия поселений в сумме </a:t>
            </a:r>
            <a:r>
              <a:rPr lang="ru-RU" sz="1100" b="1" dirty="0" smtClean="0">
                <a:latin typeface="Times New Roman" pitchFamily="18" charset="0"/>
                <a:cs typeface="Times New Roman" pitchFamily="18" charset="0"/>
              </a:rPr>
              <a:t>1 371,3 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тыс. рублей.</a:t>
            </a:r>
            <a:endParaRPr lang="ru-RU" sz="1100" dirty="0" smtClean="0">
              <a:solidFill>
                <a:schemeClr val="tx1"/>
              </a:solidFill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</p:txBody>
      </p:sp>
      <p:pic>
        <p:nvPicPr>
          <p:cNvPr id="1026" name="Picture 2" descr="C:\Users\finupr\Desktop\azrabotka-dokumentacii-po-ohrane-truda-i-pb0009ca5d_516740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58000" y="5257800"/>
            <a:ext cx="2114550" cy="1447800"/>
          </a:xfrm>
          <a:prstGeom prst="rect">
            <a:avLst/>
          </a:prstGeom>
          <a:noFill/>
        </p:spPr>
      </p:pic>
      <p:pic>
        <p:nvPicPr>
          <p:cNvPr id="6" name="Picture 3" descr="C:\Users\finupr\Desktop\c44c377125d1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85800" y="3657600"/>
            <a:ext cx="1828799" cy="1447800"/>
          </a:xfrm>
          <a:prstGeom prst="rect">
            <a:avLst/>
          </a:prstGeom>
          <a:noFill/>
        </p:spPr>
      </p:pic>
      <p:pic>
        <p:nvPicPr>
          <p:cNvPr id="7" name="Picture 4" descr="C:\Users\finupr\Desktop\normativnie-documenti-po-videouslugam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781800" y="990600"/>
            <a:ext cx="2133600" cy="16002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3" name="Заголовок 1"/>
          <p:cNvSpPr txBox="1">
            <a:spLocks/>
          </p:cNvSpPr>
          <p:nvPr/>
        </p:nvSpPr>
        <p:spPr>
          <a:xfrm>
            <a:off x="914400" y="304800"/>
            <a:ext cx="8001000" cy="6096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i="0" u="none" strike="noStrike" kern="1200" cap="all" spc="0" normalizeH="0" baseline="0" noProof="0" dirty="0" smtClean="0">
                <a:ln/>
                <a:solidFill>
                  <a:srgbClr val="7030A0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  <a:uLnTx/>
                <a:uFillTx/>
                <a:latin typeface="+mj-lt"/>
                <a:ea typeface="+mj-ea"/>
                <a:cs typeface="+mj-cs"/>
              </a:rPr>
              <a:t>Муниципальная программа «Повышение эффективности управления муниципальным имуществом муниципального образования «Тайшетский район»                                                     на 2016– 2018 годы»</a:t>
            </a:r>
            <a:endParaRPr kumimoji="0" lang="ru-RU" sz="1600" i="0" u="none" strike="noStrike" kern="1200" cap="none" spc="0" normalizeH="0" baseline="0" noProof="0" dirty="0">
              <a:ln>
                <a:noFill/>
              </a:ln>
              <a:solidFill>
                <a:srgbClr val="7030A0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</a:effectLst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57200" y="1066800"/>
            <a:ext cx="5638800" cy="83099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latin typeface="Palatino Linotype" pitchFamily="18" charset="0"/>
              </a:rPr>
              <a:t>Цель программы – осуществление полномочий по управлению и распоряжению муниципальным имуществом и обеспечение эффективности в сфере управления и распоряжения муниципальным имуществом муниципального образования  «Тайшетский район»</a:t>
            </a:r>
            <a:endParaRPr lang="ru-RU" sz="1200" b="1" dirty="0" smtClean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Palatino Linotype" pitchFamily="18" charset="0"/>
            </a:endParaRPr>
          </a:p>
        </p:txBody>
      </p:sp>
      <p:sp>
        <p:nvSpPr>
          <p:cNvPr id="5" name="Содержимое 2"/>
          <p:cNvSpPr txBox="1">
            <a:spLocks/>
          </p:cNvSpPr>
          <p:nvPr/>
        </p:nvSpPr>
        <p:spPr>
          <a:xfrm>
            <a:off x="152400" y="1905000"/>
            <a:ext cx="4648200" cy="19812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>
            <a:normAutofit/>
          </a:bodyPr>
          <a:lstStyle/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Для достижения цели Программы определены следующие задачи: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Совершенствование системы учета и содержания объектов муниципальной собственности муниципального образования «Тайшетский район»</a:t>
            </a:r>
            <a:r>
              <a:rPr kumimoji="0" lang="ru-RU" sz="11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lang="ru-RU" sz="1100" dirty="0" smtClean="0"/>
              <a:t>Исполнение полномочий в области жилищных отношений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1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сполнение полномочий в области  земельных отношений;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еспечение реализации</a:t>
            </a:r>
            <a:r>
              <a:rPr kumimoji="0" lang="ru-RU" sz="11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муниципальной программы «Повышение эффективности управления муниципальным имуществом муниципального образования «Тайшетский район».</a:t>
            </a:r>
            <a:endParaRPr kumimoji="0" lang="ru-RU" sz="11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4876800" y="1905001"/>
            <a:ext cx="4114800" cy="76944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ru-RU" sz="1100" cap="all" dirty="0" smtClean="0">
                <a:solidFill>
                  <a:srgbClr val="7030A0"/>
                </a:solidFill>
                <a:latin typeface="+mj-lt"/>
              </a:rPr>
              <a:t>Финансовое обеспечение реализации муниципальной программы </a:t>
            </a:r>
            <a:r>
              <a:rPr lang="ru-RU" sz="1100" cap="all" dirty="0" smtClean="0">
                <a:ln/>
                <a:solidFill>
                  <a:srgbClr val="7030A0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  <a:latin typeface="+mj-lt"/>
              </a:rPr>
              <a:t>«Повышение эффективности управления муниципальным имуществом муниципального образования «Тайшетский район» </a:t>
            </a:r>
            <a:r>
              <a:rPr lang="ru-RU" sz="1100" cap="all" dirty="0" smtClean="0">
                <a:solidFill>
                  <a:srgbClr val="7030A0"/>
                </a:solidFill>
                <a:latin typeface="+mj-lt"/>
              </a:rPr>
              <a:t>за 2017 год</a:t>
            </a:r>
            <a:endParaRPr lang="ru-RU" sz="1100" cap="all" dirty="0">
              <a:solidFill>
                <a:srgbClr val="7030A0"/>
              </a:solidFill>
              <a:latin typeface="+mj-lt"/>
            </a:endParaRPr>
          </a:p>
        </p:txBody>
      </p:sp>
      <p:graphicFrame>
        <p:nvGraphicFramePr>
          <p:cNvPr id="10" name="Содержимое 17"/>
          <p:cNvGraphicFramePr>
            <a:graphicFrameLocks/>
          </p:cNvGraphicFramePr>
          <p:nvPr/>
        </p:nvGraphicFramePr>
        <p:xfrm>
          <a:off x="4953000" y="3124201"/>
          <a:ext cx="4038600" cy="914399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321724"/>
                <a:gridCol w="811876"/>
                <a:gridCol w="803564"/>
                <a:gridCol w="1101436"/>
              </a:tblGrid>
              <a:tr h="279956"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План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Факт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Исполнение, %</a:t>
                      </a:r>
                      <a:endParaRPr lang="ru-RU" sz="1000" dirty="0"/>
                    </a:p>
                  </a:txBody>
                  <a:tcPr/>
                </a:tc>
              </a:tr>
              <a:tr h="29745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Всего</a:t>
                      </a:r>
                      <a:r>
                        <a:rPr lang="ru-RU" sz="1100" baseline="0" dirty="0" smtClean="0"/>
                        <a:t> расходов</a:t>
                      </a:r>
                      <a:endParaRPr lang="ru-RU" sz="11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0" dirty="0" smtClean="0"/>
                        <a:t>11 299,9</a:t>
                      </a:r>
                      <a:endParaRPr lang="ru-RU" sz="11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0" dirty="0" smtClean="0"/>
                        <a:t>10 669,6</a:t>
                      </a:r>
                      <a:endParaRPr lang="ru-RU" sz="11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0" dirty="0" smtClean="0"/>
                        <a:t>94,4</a:t>
                      </a:r>
                      <a:endParaRPr lang="ru-RU" sz="1100" b="0" dirty="0"/>
                    </a:p>
                  </a:txBody>
                  <a:tcPr/>
                </a:tc>
              </a:tr>
              <a:tr h="336989"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Районный бюджет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11 299,9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10 669,6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94,4</a:t>
                      </a:r>
                      <a:endParaRPr lang="ru-RU" sz="11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1" name="Заголовок 1"/>
          <p:cNvSpPr txBox="1">
            <a:spLocks/>
          </p:cNvSpPr>
          <p:nvPr/>
        </p:nvSpPr>
        <p:spPr>
          <a:xfrm>
            <a:off x="7543800" y="2743200"/>
            <a:ext cx="1371600" cy="3048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Тыс. рублей</a:t>
            </a:r>
            <a:endParaRPr kumimoji="0" lang="ru-RU" sz="8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12" name="Содержимое 3"/>
          <p:cNvGraphicFramePr>
            <a:graphicFrameLocks/>
          </p:cNvGraphicFramePr>
          <p:nvPr/>
        </p:nvGraphicFramePr>
        <p:xfrm>
          <a:off x="228600" y="4191000"/>
          <a:ext cx="8763000" cy="2514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Скругленный прямоугольник 12"/>
          <p:cNvSpPr/>
          <p:nvPr/>
        </p:nvSpPr>
        <p:spPr>
          <a:xfrm>
            <a:off x="6248400" y="990600"/>
            <a:ext cx="2895600" cy="838200"/>
          </a:xfrm>
          <a:prstGeom prst="roundRect">
            <a:avLst/>
          </a:prstGeom>
          <a:solidFill>
            <a:srgbClr val="FFFF99"/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latin typeface="Palatino Linotype" pitchFamily="18" charset="0"/>
              </a:rPr>
              <a:t>Ответственный исполнитель Программы – Департамент по управлению муниципальным имуществом администрации Тайшетского района</a:t>
            </a:r>
            <a:endParaRPr lang="ru-RU" sz="1000" b="1" dirty="0" smtClean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Palatino Linotype" pitchFamily="18" charset="0"/>
            </a:endParaRPr>
          </a:p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"/>
            <a:ext cx="914399" cy="1066800"/>
          </a:xfrm>
          <a:prstGeom prst="rect">
            <a:avLst/>
          </a:prstGeom>
          <a:noFill/>
        </p:spPr>
      </p:pic>
      <p:sp>
        <p:nvSpPr>
          <p:cNvPr id="3" name="Заголовок 1"/>
          <p:cNvSpPr txBox="1">
            <a:spLocks/>
          </p:cNvSpPr>
          <p:nvPr/>
        </p:nvSpPr>
        <p:spPr>
          <a:xfrm>
            <a:off x="1371600" y="152400"/>
            <a:ext cx="7543800" cy="5334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ru-RU" sz="1200" cap="all" dirty="0" smtClean="0">
                <a:solidFill>
                  <a:srgbClr val="7030A0"/>
                </a:solidFill>
                <a:latin typeface="+mj-lt"/>
              </a:rPr>
              <a:t>реализация муниципальной программы </a:t>
            </a:r>
            <a:r>
              <a:rPr lang="ru-RU" sz="1200" cap="all" dirty="0" smtClean="0">
                <a:ln/>
                <a:solidFill>
                  <a:srgbClr val="7030A0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  <a:latin typeface="+mj-lt"/>
              </a:rPr>
              <a:t>программа «Повышение эффективности управления муниципальным имуществом муниципального образования «Тайшетский район» </a:t>
            </a:r>
            <a:r>
              <a:rPr lang="ru-RU" sz="1200" cap="all" dirty="0" smtClean="0">
                <a:solidFill>
                  <a:srgbClr val="7030A0"/>
                </a:solidFill>
                <a:latin typeface="+mj-lt"/>
              </a:rPr>
              <a:t>за 2017 год</a:t>
            </a:r>
            <a:endParaRPr lang="ru-RU" sz="1200" cap="all" dirty="0">
              <a:solidFill>
                <a:srgbClr val="7030A0"/>
              </a:solidFill>
              <a:latin typeface="+mj-lt"/>
            </a:endParaRPr>
          </a:p>
        </p:txBody>
      </p:sp>
      <p:graphicFrame>
        <p:nvGraphicFramePr>
          <p:cNvPr id="5" name="Содержимое 3"/>
          <p:cNvGraphicFramePr>
            <a:graphicFrameLocks/>
          </p:cNvGraphicFramePr>
          <p:nvPr/>
        </p:nvGraphicFramePr>
        <p:xfrm>
          <a:off x="228601" y="914403"/>
          <a:ext cx="6781799" cy="3151782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571999"/>
                <a:gridCol w="533400"/>
                <a:gridCol w="549987"/>
                <a:gridCol w="533564"/>
                <a:gridCol w="592849"/>
              </a:tblGrid>
              <a:tr h="380642">
                <a:tc>
                  <a:txBody>
                    <a:bodyPr/>
                    <a:lstStyle/>
                    <a:p>
                      <a:pPr algn="ctr"/>
                      <a:r>
                        <a:rPr kumimoji="0" lang="ru-RU" sz="1000" kern="1200" dirty="0" smtClean="0"/>
                        <a:t>Основные</a:t>
                      </a:r>
                      <a:r>
                        <a:rPr kumimoji="0" lang="ru-RU" sz="1000" kern="1200" baseline="0" dirty="0" smtClean="0"/>
                        <a:t> </a:t>
                      </a:r>
                      <a:r>
                        <a:rPr kumimoji="0" lang="ru-RU" sz="1000" kern="1200" dirty="0" smtClean="0"/>
                        <a:t>целевые</a:t>
                      </a:r>
                      <a:r>
                        <a:rPr kumimoji="0" lang="ru-RU" sz="1000" kern="1200" baseline="0" dirty="0" smtClean="0"/>
                        <a:t> </a:t>
                      </a:r>
                      <a:r>
                        <a:rPr kumimoji="0" lang="ru-RU" sz="1000" kern="1200" dirty="0" smtClean="0"/>
                        <a:t>показатели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ru-RU" sz="1000" kern="1200" dirty="0" smtClean="0"/>
                        <a:t>Ед. </a:t>
                      </a:r>
                      <a:r>
                        <a:rPr kumimoji="0" lang="ru-RU" sz="1000" kern="1200" dirty="0" err="1" smtClean="0"/>
                        <a:t>изм</a:t>
                      </a:r>
                      <a:r>
                        <a:rPr kumimoji="0" lang="ru-RU" sz="1000" kern="1200" dirty="0" smtClean="0"/>
                        <a:t>.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2016 (факт)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2017 (план)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2017 (факт)</a:t>
                      </a:r>
                      <a:endParaRPr lang="ru-RU" sz="1000" dirty="0"/>
                    </a:p>
                  </a:txBody>
                  <a:tcPr/>
                </a:tc>
              </a:tr>
              <a:tr h="307442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50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 объектов, в отношении которых проведена техническая инвентаризация и постановка на государственный кадастровый учет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ед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6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1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9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</a:tr>
              <a:tr h="307442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50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 объектов, в отношении которых проведена государственная регистрация права собственности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Times New Roman"/>
                          <a:cs typeface="Times New Roman"/>
                        </a:rPr>
                        <a:t>ед.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2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indent="158750"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1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9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</a:tr>
              <a:tr h="307442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50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 переданных объектов в связи с разграничением полномочий между муниципальным районом и поселениями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>
                          <a:latin typeface="Times New Roman"/>
                          <a:ea typeface="Times New Roman"/>
                          <a:cs typeface="Times New Roman"/>
                        </a:rPr>
                        <a:t>ед.</a:t>
                      </a: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5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indent="158750"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8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</a:tr>
              <a:tr h="186262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50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 приватизированных объектов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ед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indent="158750"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3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2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</a:tr>
              <a:tr h="307442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50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 приобретенных квартир и закрепление их в специализированном жилищном фонде муниципального образования "Тайшетский район".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шт.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</a:tr>
              <a:tr h="46116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50" dirty="0">
                          <a:latin typeface="Times New Roman"/>
                          <a:ea typeface="Times New Roman"/>
                          <a:cs typeface="Times New Roman"/>
                        </a:rPr>
                        <a:t>Количество земельных участков, поставленных на государственный кадастровый учет земельных участков, регистрация права муниципальной собственности муниципального образования "Тайшетский район"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шт.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6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3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</a:tr>
              <a:tr h="46116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50" dirty="0" smtClean="0">
                          <a:latin typeface="Times New Roman"/>
                          <a:ea typeface="Times New Roman"/>
                          <a:cs typeface="Times New Roman"/>
                        </a:rPr>
                        <a:t>Относительное отклонение фактического исполнения показателя «Прочие поступления от использования имущества, находящегося</a:t>
                      </a:r>
                      <a:r>
                        <a:rPr lang="ru-RU" sz="1050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 в собственности района» от его планового значения</a:t>
                      </a:r>
                      <a:endParaRPr lang="ru-RU" sz="105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latin typeface="Times New Roman"/>
                          <a:ea typeface="Times New Roman"/>
                          <a:cs typeface="Times New Roman"/>
                        </a:rPr>
                        <a:t>%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err="1" smtClean="0">
                          <a:latin typeface="Times New Roman"/>
                          <a:ea typeface="Times New Roman"/>
                          <a:cs typeface="Times New Roman"/>
                        </a:rPr>
                        <a:t>х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/>
                          <a:ea typeface="Times New Roman"/>
                          <a:cs typeface="Times New Roman"/>
                        </a:rPr>
                        <a:t>100,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02,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</a:tr>
              <a:tr h="32900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50" dirty="0" smtClean="0">
                          <a:latin typeface="Times New Roman"/>
                          <a:ea typeface="Times New Roman"/>
                          <a:cs typeface="Times New Roman"/>
                        </a:rPr>
                        <a:t>Доля мест под установку рекламных конструкций, предоставленных в соответствии со схемой размещения рекламных конструкций</a:t>
                      </a:r>
                      <a:endParaRPr lang="ru-RU" sz="105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%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err="1" smtClean="0">
                          <a:latin typeface="Times New Roman"/>
                          <a:ea typeface="Times New Roman"/>
                          <a:cs typeface="Times New Roman"/>
                        </a:rPr>
                        <a:t>х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55,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55,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</a:tr>
            </a:tbl>
          </a:graphicData>
        </a:graphic>
      </p:graphicFrame>
      <p:sp>
        <p:nvSpPr>
          <p:cNvPr id="6" name="Содержимое 2"/>
          <p:cNvSpPr txBox="1">
            <a:spLocks/>
          </p:cNvSpPr>
          <p:nvPr/>
        </p:nvSpPr>
        <p:spPr>
          <a:xfrm>
            <a:off x="2362200" y="4114800"/>
            <a:ext cx="6477000" cy="25908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>
            <a:noAutofit/>
          </a:bodyPr>
          <a:lstStyle/>
          <a:p>
            <a:pPr lvl="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Доходы, получаемые в виде арендной платы за земельные участки, государственная собственность на которые не разграничена и которые расположены в границах поселений, а также средства от продажи права на заключение договоров аренды указанных земельных участков, перевыполнены на 16,0 %.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На кадастровый учет было поставлено 7 земельных участков, расположенных под автомобильными дорогами местного значения.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Направлено 480 уведомлений арендаторам земельных участков о размере платы на будущий период.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Составлено 204 акта обследований земельных участков по факту их целевого использования.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Выдано 15 разрешений на установку рекламных конструкций.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В 2017 году проведено 7 инвентаризационных проверок в отношении объектов муниципальной собственности Тайшетского района, переданных по договорам хозяйственного ведения, оперативного управления, договорам аренды, безвозмездного пользования.</a:t>
            </a:r>
          </a:p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endParaRPr lang="ru-RU" sz="1200" dirty="0" smtClean="0">
              <a:solidFill>
                <a:schemeClr val="tx1"/>
              </a:solidFill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</p:txBody>
      </p:sp>
      <p:pic>
        <p:nvPicPr>
          <p:cNvPr id="10242" name="Picture 2" descr="C:\Documents and Settings\Admin\Рабочий стол\i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086600" y="914401"/>
            <a:ext cx="1905000" cy="3200400"/>
          </a:xfrm>
          <a:prstGeom prst="rect">
            <a:avLst/>
          </a:prstGeom>
          <a:noFill/>
        </p:spPr>
      </p:pic>
      <p:pic>
        <p:nvPicPr>
          <p:cNvPr id="10243" name="Picture 3" descr="C:\Documents and Settings\Admin\Рабочий стол\31-08-5287022_1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2400" y="4419600"/>
            <a:ext cx="2133600" cy="22098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3" name="Заголовок 1"/>
          <p:cNvSpPr txBox="1">
            <a:spLocks/>
          </p:cNvSpPr>
          <p:nvPr/>
        </p:nvSpPr>
        <p:spPr>
          <a:xfrm>
            <a:off x="914400" y="304800"/>
            <a:ext cx="8001000" cy="4572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>
            <a:normAutofit fontScale="92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i="0" u="none" strike="noStrike" kern="1200" cap="all" spc="0" normalizeH="0" baseline="0" noProof="0" dirty="0" smtClean="0">
                <a:ln/>
                <a:solidFill>
                  <a:srgbClr val="7030A0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  <a:uLnTx/>
                <a:uFillTx/>
                <a:latin typeface="+mj-lt"/>
                <a:ea typeface="+mj-ea"/>
                <a:cs typeface="+mj-cs"/>
              </a:rPr>
              <a:t>Муниципальная программа «Безопасность дорожного движения»                                                     на 2017– 2019 годы»</a:t>
            </a:r>
            <a:endParaRPr kumimoji="0" lang="ru-RU" sz="1600" i="0" u="none" strike="noStrike" kern="1200" cap="none" spc="0" normalizeH="0" baseline="0" noProof="0" dirty="0">
              <a:ln>
                <a:noFill/>
              </a:ln>
              <a:solidFill>
                <a:srgbClr val="7030A0"/>
              </a:solidFill>
              <a:effectLst>
                <a:outerShdw blurRad="19685" dist="12700" dir="5400000" algn="tl" rotWithShape="0">
                  <a:schemeClr val="accent1">
                    <a:satMod val="130000"/>
                    <a:alpha val="60000"/>
                  </a:schemeClr>
                </a:outerShdw>
              </a:effectLst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38200" y="914400"/>
            <a:ext cx="5181600" cy="60016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sz="1100" dirty="0" smtClean="0">
                <a:latin typeface="Palatino Linotype" pitchFamily="18" charset="0"/>
              </a:rPr>
              <a:t>Цель программы – Снижение смертности в результате дорожно-транспортных происшествий и снижения количества дорожно-транспортных происшествий с пострадавшими</a:t>
            </a:r>
            <a:endParaRPr lang="ru-RU" sz="1100" b="1" dirty="0" smtClean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Palatino Linotype" pitchFamily="18" charset="0"/>
            </a:endParaRPr>
          </a:p>
        </p:txBody>
      </p:sp>
      <p:sp>
        <p:nvSpPr>
          <p:cNvPr id="5" name="Содержимое 2"/>
          <p:cNvSpPr txBox="1">
            <a:spLocks/>
          </p:cNvSpPr>
          <p:nvPr/>
        </p:nvSpPr>
        <p:spPr>
          <a:xfrm>
            <a:off x="152400" y="1600200"/>
            <a:ext cx="5867400" cy="762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vert="horz">
            <a:normAutofit fontScale="92500" lnSpcReduction="20000"/>
          </a:bodyPr>
          <a:lstStyle/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Для достижения цели Программы определены следующие задачи: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едупреждение опасного поведения участников дорожного движения.</a:t>
            </a:r>
          </a:p>
          <a:p>
            <a:pPr marR="0" lvl="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lang="ru-RU" sz="1200" dirty="0" smtClean="0"/>
              <a:t>Сокращение мест концентрации дорожно-транспортных происшествий.</a:t>
            </a:r>
          </a:p>
          <a:p>
            <a:pPr marL="274320" marR="0" lvl="0" indent="-27432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" pitchFamily="2" charset="2"/>
              <a:buChar char="Ø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еспечение</a:t>
            </a:r>
            <a:r>
              <a:rPr kumimoji="0" lang="ru-RU" sz="1200" b="0" i="0" u="none" strike="noStrike" kern="1200" cap="none" spc="0" normalizeH="0" noProof="0" dirty="0" smtClean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безопасного участия детей в дорожном движении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dk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28600" y="2438400"/>
            <a:ext cx="5105400" cy="43088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ru-RU" sz="1100" cap="all" dirty="0" smtClean="0">
                <a:solidFill>
                  <a:srgbClr val="7030A0"/>
                </a:solidFill>
                <a:latin typeface="+mj-lt"/>
              </a:rPr>
              <a:t>Финансовое обеспечение реализации муниципальной программы </a:t>
            </a:r>
            <a:r>
              <a:rPr lang="ru-RU" sz="1100" cap="all" dirty="0" smtClean="0">
                <a:ln/>
                <a:solidFill>
                  <a:srgbClr val="7030A0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  <a:latin typeface="+mj-lt"/>
              </a:rPr>
              <a:t>«безопасность дорожного движения» </a:t>
            </a:r>
            <a:r>
              <a:rPr lang="ru-RU" sz="1100" cap="all" dirty="0" smtClean="0">
                <a:solidFill>
                  <a:srgbClr val="7030A0"/>
                </a:solidFill>
                <a:latin typeface="+mj-lt"/>
              </a:rPr>
              <a:t>за 2017 год</a:t>
            </a:r>
            <a:endParaRPr lang="ru-RU" sz="1100" cap="all" dirty="0">
              <a:solidFill>
                <a:srgbClr val="7030A0"/>
              </a:solidFill>
              <a:latin typeface="+mj-lt"/>
            </a:endParaRPr>
          </a:p>
        </p:txBody>
      </p:sp>
      <p:graphicFrame>
        <p:nvGraphicFramePr>
          <p:cNvPr id="10" name="Содержимое 17"/>
          <p:cNvGraphicFramePr>
            <a:graphicFrameLocks/>
          </p:cNvGraphicFramePr>
          <p:nvPr/>
        </p:nvGraphicFramePr>
        <p:xfrm>
          <a:off x="228600" y="3048001"/>
          <a:ext cx="4724400" cy="91440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546167"/>
                <a:gridCol w="949741"/>
                <a:gridCol w="940019"/>
                <a:gridCol w="1288473"/>
              </a:tblGrid>
              <a:tr h="284489"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План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Факт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Исполнение, %</a:t>
                      </a:r>
                      <a:endParaRPr lang="ru-RU" sz="1000" dirty="0"/>
                    </a:p>
                  </a:txBody>
                  <a:tcPr/>
                </a:tc>
              </a:tr>
              <a:tr h="30227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Всего</a:t>
                      </a:r>
                      <a:r>
                        <a:rPr lang="ru-RU" sz="1100" baseline="0" dirty="0" smtClean="0"/>
                        <a:t> расходов</a:t>
                      </a:r>
                      <a:endParaRPr lang="ru-RU" sz="11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0" dirty="0" smtClean="0"/>
                        <a:t>179,1</a:t>
                      </a:r>
                      <a:endParaRPr lang="ru-RU" sz="11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0" dirty="0" smtClean="0"/>
                        <a:t>132,0</a:t>
                      </a:r>
                      <a:endParaRPr lang="ru-RU" sz="11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0" dirty="0" smtClean="0"/>
                        <a:t>73,7</a:t>
                      </a:r>
                      <a:endParaRPr lang="ru-RU" sz="1100" b="0" dirty="0"/>
                    </a:p>
                  </a:txBody>
                  <a:tcPr/>
                </a:tc>
              </a:tr>
              <a:tr h="327640"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Районный бюджет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179,1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132,0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/>
                        <a:t>73,7</a:t>
                      </a:r>
                      <a:endParaRPr lang="ru-RU" sz="11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1" name="Заголовок 1"/>
          <p:cNvSpPr txBox="1">
            <a:spLocks/>
          </p:cNvSpPr>
          <p:nvPr/>
        </p:nvSpPr>
        <p:spPr>
          <a:xfrm>
            <a:off x="3886200" y="2895600"/>
            <a:ext cx="1143000" cy="152400"/>
          </a:xfrm>
          <a:prstGeom prst="rect">
            <a:avLst/>
          </a:prstGeom>
          <a:solidFill>
            <a:schemeClr val="bg1"/>
          </a:solidFill>
          <a:ln>
            <a:solidFill>
              <a:srgbClr val="00B050"/>
            </a:solidFill>
          </a:ln>
        </p:spPr>
        <p:txBody>
          <a:bodyPr vert="horz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all" spc="0" normalizeH="0" baseline="0" noProof="0" dirty="0" smtClean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Тыс. рублей</a:t>
            </a:r>
            <a:endParaRPr kumimoji="0" lang="ru-RU" sz="800" b="0" i="0" u="none" strike="noStrike" kern="1200" cap="all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6096000" y="838200"/>
            <a:ext cx="3048000" cy="838200"/>
          </a:xfrm>
          <a:prstGeom prst="roundRect">
            <a:avLst/>
          </a:prstGeom>
          <a:solidFill>
            <a:srgbClr val="FFFF99"/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00" dirty="0" smtClean="0">
                <a:latin typeface="Palatino Linotype" pitchFamily="18" charset="0"/>
              </a:rPr>
              <a:t>Ответственный исполнитель Программы – Комитет по управлению жилищно-коммунальным хозяйством, транспорта, связи и дорожной службы администрации Тайшетского района</a:t>
            </a:r>
            <a:endParaRPr lang="ru-RU" sz="1000" b="1" dirty="0" smtClean="0">
              <a:ln w="18000">
                <a:solidFill>
                  <a:schemeClr val="accent2">
                    <a:satMod val="140000"/>
                  </a:schemeClr>
                </a:solidFill>
                <a:prstDash val="solid"/>
                <a:miter lim="800000"/>
              </a:ln>
              <a:noFill/>
              <a:effectLst>
                <a:outerShdw blurRad="25500" dist="23000" dir="7020000" algn="tl">
                  <a:srgbClr val="000000">
                    <a:alpha val="50000"/>
                  </a:srgbClr>
                </a:outerShdw>
              </a:effectLst>
              <a:latin typeface="Palatino Linotype" pitchFamily="18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5181600" y="3886200"/>
            <a:ext cx="3810000" cy="43088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ru-RU" sz="1100" cap="all" dirty="0" smtClean="0">
                <a:solidFill>
                  <a:srgbClr val="7030A0"/>
                </a:solidFill>
                <a:latin typeface="+mj-lt"/>
              </a:rPr>
              <a:t>реализация муниципальной программы </a:t>
            </a:r>
            <a:r>
              <a:rPr lang="ru-RU" sz="1100" cap="all" dirty="0" smtClean="0">
                <a:ln/>
                <a:solidFill>
                  <a:srgbClr val="7030A0"/>
                </a:solidFill>
                <a:effectLst>
                  <a:outerShdw blurRad="19685" dist="12700" dir="5400000" algn="tl" rotWithShape="0">
                    <a:schemeClr val="accent1">
                      <a:satMod val="130000"/>
                      <a:alpha val="60000"/>
                    </a:schemeClr>
                  </a:outerShdw>
                </a:effectLst>
                <a:latin typeface="+mj-lt"/>
              </a:rPr>
              <a:t>«безопасность дорожного движения» </a:t>
            </a:r>
            <a:r>
              <a:rPr lang="ru-RU" sz="1100" cap="all" dirty="0" smtClean="0">
                <a:solidFill>
                  <a:srgbClr val="7030A0"/>
                </a:solidFill>
                <a:latin typeface="+mj-lt"/>
              </a:rPr>
              <a:t>за 2017 год</a:t>
            </a:r>
            <a:endParaRPr lang="ru-RU" sz="1100" cap="all" dirty="0">
              <a:solidFill>
                <a:srgbClr val="7030A0"/>
              </a:solidFill>
              <a:latin typeface="+mj-lt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181600" y="4395787"/>
            <a:ext cx="3962400" cy="246221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lvl="0" algn="ctr">
              <a:spcBef>
                <a:spcPct val="0"/>
              </a:spcBef>
              <a:defRPr/>
            </a:pPr>
            <a:r>
              <a:rPr lang="ru-RU" sz="1100" dirty="0" smtClean="0"/>
              <a:t>Проведены следующие мероприятия:</a:t>
            </a:r>
          </a:p>
          <a:p>
            <a:pPr lvl="0">
              <a:spcBef>
                <a:spcPct val="0"/>
              </a:spcBef>
              <a:buFont typeface="Wingdings" pitchFamily="2" charset="2"/>
              <a:buChar char="ü"/>
              <a:defRPr/>
            </a:pPr>
            <a:r>
              <a:rPr lang="ru-RU" sz="1100" dirty="0" smtClean="0"/>
              <a:t>-освещение в средствах массовой информации проблем и результатов работы по обеспечению безопасности дорожного движения ;</a:t>
            </a:r>
          </a:p>
          <a:p>
            <a:pPr lvl="0">
              <a:spcBef>
                <a:spcPct val="0"/>
              </a:spcBef>
              <a:buFont typeface="Wingdings" pitchFamily="2" charset="2"/>
              <a:buChar char="ü"/>
              <a:defRPr/>
            </a:pPr>
            <a:r>
              <a:rPr lang="ru-RU" sz="1100" dirty="0" smtClean="0"/>
              <a:t>-приобретение и установка дорожных знаков перед железнодорожными переездами  в сумме 119,1 тыс. рублей;</a:t>
            </a:r>
          </a:p>
          <a:p>
            <a:pPr lvl="0">
              <a:spcBef>
                <a:spcPct val="0"/>
              </a:spcBef>
              <a:buFont typeface="Wingdings" pitchFamily="2" charset="2"/>
              <a:buChar char="ü"/>
              <a:defRPr/>
            </a:pPr>
            <a:r>
              <a:rPr lang="ru-RU" sz="1100" cap="all" dirty="0" smtClean="0">
                <a:solidFill>
                  <a:srgbClr val="7030A0"/>
                </a:solidFill>
                <a:latin typeface="+mj-lt"/>
              </a:rPr>
              <a:t>-</a:t>
            </a:r>
            <a:r>
              <a:rPr lang="ru-RU" sz="1100" dirty="0" smtClean="0"/>
              <a:t>проведение комплексных мероприятий, направленных на обучение детей безопасному поведению на дороге (акции, конкурсы, викторины );</a:t>
            </a:r>
          </a:p>
          <a:p>
            <a:pPr lvl="0">
              <a:spcBef>
                <a:spcPct val="0"/>
              </a:spcBef>
              <a:buFont typeface="Wingdings" pitchFamily="2" charset="2"/>
              <a:buChar char="ü"/>
              <a:defRPr/>
            </a:pPr>
            <a:r>
              <a:rPr lang="ru-RU" sz="1100" dirty="0" smtClean="0"/>
              <a:t>-проведение профилактических мероприятий по изучению с детьми правил безопасного участия в дорожном движении с использованием схем маршрутов движения детей "дом- школа-дом"</a:t>
            </a:r>
          </a:p>
          <a:p>
            <a:pPr lvl="0">
              <a:spcBef>
                <a:spcPct val="0"/>
              </a:spcBef>
              <a:defRPr/>
            </a:pPr>
            <a:endParaRPr lang="ru-RU" sz="1100" cap="all" dirty="0">
              <a:solidFill>
                <a:srgbClr val="7030A0"/>
              </a:solidFill>
              <a:latin typeface="+mj-lt"/>
            </a:endParaRPr>
          </a:p>
        </p:txBody>
      </p:sp>
      <p:graphicFrame>
        <p:nvGraphicFramePr>
          <p:cNvPr id="16" name="Содержимое 3"/>
          <p:cNvGraphicFramePr>
            <a:graphicFrameLocks/>
          </p:cNvGraphicFramePr>
          <p:nvPr/>
        </p:nvGraphicFramePr>
        <p:xfrm>
          <a:off x="152401" y="4038601"/>
          <a:ext cx="4952997" cy="2819398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476498"/>
                <a:gridCol w="479323"/>
                <a:gridCol w="639096"/>
                <a:gridCol w="639096"/>
                <a:gridCol w="718984"/>
              </a:tblGrid>
              <a:tr h="410220">
                <a:tc>
                  <a:txBody>
                    <a:bodyPr/>
                    <a:lstStyle/>
                    <a:p>
                      <a:pPr algn="ctr"/>
                      <a:r>
                        <a:rPr kumimoji="0" lang="ru-RU" sz="1000" kern="1200" dirty="0" smtClean="0"/>
                        <a:t>Основные</a:t>
                      </a:r>
                      <a:r>
                        <a:rPr kumimoji="0" lang="ru-RU" sz="1000" kern="1200" baseline="0" dirty="0" smtClean="0"/>
                        <a:t> </a:t>
                      </a:r>
                      <a:r>
                        <a:rPr kumimoji="0" lang="ru-RU" sz="1000" kern="1200" dirty="0" smtClean="0"/>
                        <a:t>целевые</a:t>
                      </a:r>
                      <a:r>
                        <a:rPr kumimoji="0" lang="ru-RU" sz="1000" kern="1200" baseline="0" dirty="0" smtClean="0"/>
                        <a:t> </a:t>
                      </a:r>
                      <a:r>
                        <a:rPr kumimoji="0" lang="ru-RU" sz="1000" kern="1200" dirty="0" smtClean="0"/>
                        <a:t>показатели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ru-RU" sz="1000" kern="1200" dirty="0" smtClean="0"/>
                        <a:t>Ед. </a:t>
                      </a:r>
                      <a:r>
                        <a:rPr kumimoji="0" lang="ru-RU" sz="1000" kern="1200" dirty="0" err="1" smtClean="0"/>
                        <a:t>изм</a:t>
                      </a:r>
                      <a:r>
                        <a:rPr kumimoji="0" lang="ru-RU" sz="1000" kern="1200" dirty="0" smtClean="0"/>
                        <a:t>.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2016 (факт)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2017 (план)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2017 (факт)</a:t>
                      </a:r>
                      <a:endParaRPr lang="ru-RU" sz="1000" dirty="0"/>
                    </a:p>
                  </a:txBody>
                  <a:tcPr/>
                </a:tc>
              </a:tr>
              <a:tr h="331332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5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Количество дорожно-транспортных происшествий с пострадавшими</a:t>
                      </a:r>
                      <a:endParaRPr lang="ru-RU" sz="105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50" dirty="0">
                          <a:latin typeface="Times New Roman"/>
                          <a:ea typeface="Times New Roman"/>
                          <a:cs typeface="Times New Roman"/>
                        </a:rPr>
                        <a:t>ед.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50" dirty="0" smtClean="0">
                          <a:latin typeface="Times New Roman"/>
                          <a:ea typeface="Times New Roman"/>
                          <a:cs typeface="Times New Roman"/>
                        </a:rPr>
                        <a:t>61</a:t>
                      </a:r>
                      <a:endParaRPr lang="ru-RU" sz="105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50" dirty="0" smtClean="0">
                          <a:latin typeface="Times New Roman"/>
                          <a:ea typeface="Times New Roman"/>
                          <a:cs typeface="Times New Roman"/>
                        </a:rPr>
                        <a:t>60</a:t>
                      </a:r>
                      <a:endParaRPr lang="ru-RU" sz="105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/>
                          <a:ea typeface="Times New Roman"/>
                          <a:cs typeface="Times New Roman"/>
                        </a:rPr>
                        <a:t>78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</a:tr>
              <a:tr h="66266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5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оказатель социального риска (количество лиц, погибших в результате дорожно-транспортных происшествий, на 100 тыс. населения)</a:t>
                      </a:r>
                      <a:endParaRPr lang="ru-RU" sz="105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50" dirty="0" smtClean="0">
                          <a:latin typeface="Times New Roman"/>
                          <a:ea typeface="Times New Roman"/>
                          <a:cs typeface="Times New Roman"/>
                        </a:rPr>
                        <a:t>Чел.</a:t>
                      </a:r>
                      <a:endParaRPr lang="ru-RU" sz="105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50" dirty="0" smtClean="0">
                          <a:latin typeface="Times New Roman"/>
                          <a:ea typeface="Times New Roman"/>
                          <a:cs typeface="Times New Roman"/>
                        </a:rPr>
                        <a:t>22,7</a:t>
                      </a:r>
                      <a:endParaRPr lang="ru-RU" sz="105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indent="158750" algn="ctr">
                        <a:spcAft>
                          <a:spcPts val="0"/>
                        </a:spcAft>
                      </a:pPr>
                      <a:r>
                        <a:rPr lang="ru-RU" sz="1050" dirty="0" smtClean="0">
                          <a:latin typeface="Times New Roman"/>
                          <a:ea typeface="Times New Roman"/>
                          <a:cs typeface="Times New Roman"/>
                        </a:rPr>
                        <a:t>21,7</a:t>
                      </a:r>
                      <a:endParaRPr lang="ru-RU" sz="105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/>
                          <a:ea typeface="Times New Roman"/>
                          <a:cs typeface="Times New Roman"/>
                        </a:rPr>
                        <a:t>31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</a:tr>
              <a:tr h="75252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5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оказатель транспортного риска (количество лиц, погибших в результате дорожно-транспортных происшествий, на 10 тыс. транспортных средств)</a:t>
                      </a:r>
                      <a:endParaRPr lang="ru-RU" sz="105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50" dirty="0" smtClean="0">
                          <a:latin typeface="Times New Roman"/>
                          <a:ea typeface="Times New Roman"/>
                          <a:cs typeface="Times New Roman"/>
                        </a:rPr>
                        <a:t>Чел.</a:t>
                      </a:r>
                      <a:endParaRPr lang="ru-RU" sz="105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50" dirty="0" smtClean="0">
                          <a:latin typeface="Times New Roman"/>
                          <a:ea typeface="Times New Roman"/>
                          <a:cs typeface="Times New Roman"/>
                        </a:rPr>
                        <a:t>7,2</a:t>
                      </a:r>
                      <a:endParaRPr lang="ru-RU" sz="105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indent="158750" algn="ctr">
                        <a:spcAft>
                          <a:spcPts val="0"/>
                        </a:spcAft>
                      </a:pPr>
                      <a:r>
                        <a:rPr lang="ru-RU" sz="1050" dirty="0" smtClean="0">
                          <a:latin typeface="Times New Roman"/>
                          <a:ea typeface="Times New Roman"/>
                          <a:cs typeface="Times New Roman"/>
                        </a:rPr>
                        <a:t>7,1</a:t>
                      </a:r>
                      <a:endParaRPr lang="ru-RU" sz="105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/>
                          <a:ea typeface="Times New Roman"/>
                          <a:cs typeface="Times New Roman"/>
                        </a:rPr>
                        <a:t>9,4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</a:tr>
              <a:tr h="66266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5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оказатель тяжести последствий (количество лиц, погибших в результате дорожно-транспортных происшествий, на 100 пострадавших)</a:t>
                      </a:r>
                      <a:endParaRPr lang="ru-RU" sz="105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50" dirty="0" smtClean="0">
                          <a:latin typeface="Times New Roman"/>
                          <a:ea typeface="Times New Roman"/>
                          <a:cs typeface="Times New Roman"/>
                        </a:rPr>
                        <a:t>Чел.</a:t>
                      </a:r>
                      <a:endParaRPr lang="ru-RU" sz="105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50" dirty="0" smtClean="0">
                          <a:latin typeface="Times New Roman"/>
                          <a:ea typeface="Times New Roman"/>
                          <a:cs typeface="Times New Roman"/>
                        </a:rPr>
                        <a:t>21,8</a:t>
                      </a:r>
                      <a:endParaRPr lang="ru-RU" sz="105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  <a:tc>
                  <a:txBody>
                    <a:bodyPr/>
                    <a:lstStyle/>
                    <a:p>
                      <a:pPr indent="158750" algn="ctr">
                        <a:spcAft>
                          <a:spcPts val="0"/>
                        </a:spcAft>
                      </a:pPr>
                      <a:r>
                        <a:rPr lang="ru-RU" sz="1050" dirty="0" smtClean="0">
                          <a:latin typeface="Times New Roman"/>
                          <a:ea typeface="Times New Roman"/>
                          <a:cs typeface="Times New Roman"/>
                        </a:rPr>
                        <a:t>21,1</a:t>
                      </a:r>
                      <a:endParaRPr lang="ru-RU" sz="105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/>
                          <a:ea typeface="Times New Roman"/>
                          <a:cs typeface="Times New Roman"/>
                        </a:rPr>
                        <a:t>19,8</a:t>
                      </a:r>
                      <a:endParaRPr lang="ru-RU" sz="11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47625" marR="47625" marT="0" marB="0" anchor="ctr"/>
                </a:tc>
              </a:tr>
            </a:tbl>
          </a:graphicData>
        </a:graphic>
      </p:graphicFrame>
      <p:pic>
        <p:nvPicPr>
          <p:cNvPr id="9219" name="Picture 3" descr="C:\Documents and Settings\Admin\Рабочий стол\119-1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72200" y="1752600"/>
            <a:ext cx="2819400" cy="2133599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90600" y="228600"/>
            <a:ext cx="7696200" cy="457200"/>
          </a:xfrm>
          <a:solidFill>
            <a:schemeClr val="lt1"/>
          </a:solidFill>
          <a:ln>
            <a:solidFill>
              <a:schemeClr val="accent6"/>
            </a:solidFill>
          </a:ln>
        </p:spPr>
        <p:txBody>
          <a:bodyPr anchor="ctr" anchorCtr="1">
            <a:normAutofit fontScale="90000"/>
          </a:bodyPr>
          <a:lstStyle/>
          <a:p>
            <a:pPr algn="ctr"/>
            <a:r>
              <a:rPr lang="ru-RU" sz="1800" dirty="0" smtClean="0">
                <a:solidFill>
                  <a:srgbClr val="7030A0"/>
                </a:solidFill>
                <a:effectLst/>
              </a:rPr>
              <a:t>Расходы бюджета на реализацию непрограммных направлений деятельности за 2017 год   </a:t>
            </a:r>
            <a:r>
              <a:rPr lang="ru-RU" sz="1800" dirty="0" smtClean="0">
                <a:solidFill>
                  <a:srgbClr val="7030A0"/>
                </a:solidFill>
              </a:rPr>
              <a:t>       </a:t>
            </a:r>
            <a:r>
              <a:rPr lang="ru-RU" sz="1800" dirty="0" smtClean="0"/>
              <a:t>                                                                                                                       </a:t>
            </a:r>
            <a:endParaRPr lang="ru-RU" sz="1300" dirty="0"/>
          </a:p>
        </p:txBody>
      </p:sp>
      <p:graphicFrame>
        <p:nvGraphicFramePr>
          <p:cNvPr id="4" name="Содержимое 3"/>
          <p:cNvGraphicFramePr>
            <a:graphicFrameLocks noGrp="1"/>
          </p:cNvGraphicFramePr>
          <p:nvPr>
            <p:ph idx="1"/>
          </p:nvPr>
        </p:nvGraphicFramePr>
        <p:xfrm>
          <a:off x="152401" y="3276602"/>
          <a:ext cx="8839199" cy="3316571"/>
        </p:xfrm>
        <a:graphic>
          <a:graphicData uri="http://schemas.openxmlformats.org/drawingml/2006/table">
            <a:tbl>
              <a:tblPr firstRow="1" bandRow="1">
                <a:tableStyleId>{775DCB02-9BB8-47FD-8907-85C794F793BA}</a:tableStyleId>
              </a:tblPr>
              <a:tblGrid>
                <a:gridCol w="5867399"/>
                <a:gridCol w="838200"/>
                <a:gridCol w="838200"/>
                <a:gridCol w="1295400"/>
              </a:tblGrid>
              <a:tr h="331964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99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 План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99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Факт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9900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Исполнение,%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9900"/>
                    </a:solidFill>
                  </a:tcPr>
                </a:tc>
              </a:tr>
              <a:tr h="292359">
                <a:tc>
                  <a:txBody>
                    <a:bodyPr/>
                    <a:lstStyle/>
                    <a:p>
                      <a:r>
                        <a:rPr lang="ru-RU" sz="13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Всего, в том числе:</a:t>
                      </a:r>
                      <a:endParaRPr lang="ru-RU" sz="13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30 126,2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4 606,8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81,7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276971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Функционирование Думы Тайшетского района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5 260,3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4 855,4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92,3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276971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 Функционирование Контрольно-счетной</a:t>
                      </a:r>
                      <a:r>
                        <a:rPr lang="ru-RU" sz="12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палаты Тайшетского района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7 501,9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6 272,8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83,6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666297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Функционирование органов местного самоуправления</a:t>
                      </a:r>
                      <a:r>
                        <a:rPr lang="ru-RU" sz="12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 района (Управление строительства, архитектуры и инвестиционной политики, отдел субсидий, МКУ Служба Го и ЧС)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11 698,9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10 930,8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93,4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277987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Реализация мероприятий, осуществляемых</a:t>
                      </a:r>
                      <a:r>
                        <a:rPr lang="ru-RU" sz="12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органами местного самоуправления района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3 433,6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447,5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13,0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276971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Осуществление государственных </a:t>
                      </a:r>
                      <a:r>
                        <a:rPr lang="ru-RU" sz="12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полномочий, из них: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2 231,5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2 100,3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94,1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600106"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latin typeface="Times New Roman" pitchFamily="18" charset="0"/>
                          <a:cs typeface="Times New Roman" pitchFamily="18" charset="0"/>
                        </a:rPr>
                        <a:t>Определение персонального состава и обеспечение деятельности районных (городских), районных в городах комиссий по делам несовершеннолетних и защите их прав</a:t>
                      </a:r>
                      <a:endParaRPr lang="ru-RU" sz="1200" b="0" i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i="1" dirty="0" smtClean="0">
                          <a:latin typeface="Times New Roman" pitchFamily="18" charset="0"/>
                          <a:cs typeface="Times New Roman" pitchFamily="18" charset="0"/>
                        </a:rPr>
                        <a:t>1 829,0</a:t>
                      </a:r>
                      <a:endParaRPr lang="ru-RU" sz="1200" i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i="1" dirty="0" smtClean="0">
                          <a:latin typeface="Times New Roman" pitchFamily="18" charset="0"/>
                          <a:cs typeface="Times New Roman" pitchFamily="18" charset="0"/>
                        </a:rPr>
                        <a:t>1 751,0</a:t>
                      </a:r>
                      <a:endParaRPr lang="ru-RU" sz="1200" i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i="1" dirty="0" smtClean="0">
                          <a:latin typeface="Times New Roman" pitchFamily="18" charset="0"/>
                          <a:cs typeface="Times New Roman" pitchFamily="18" charset="0"/>
                        </a:rPr>
                        <a:t>95,7</a:t>
                      </a:r>
                      <a:endParaRPr lang="ru-RU" sz="1200" i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276971">
                <a:tc>
                  <a:txBody>
                    <a:bodyPr/>
                    <a:lstStyle/>
                    <a:p>
                      <a:r>
                        <a:rPr lang="ru-RU" sz="1200" b="0" i="1" dirty="0" smtClean="0">
                          <a:latin typeface="Times New Roman" pitchFamily="18" charset="0"/>
                          <a:cs typeface="Times New Roman" pitchFamily="18" charset="0"/>
                        </a:rPr>
                        <a:t>В сфере обращения с безнадзорными</a:t>
                      </a:r>
                      <a:r>
                        <a:rPr lang="ru-RU" sz="1200" b="0" i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собаками и кошками в Иркутской области</a:t>
                      </a:r>
                      <a:endParaRPr lang="ru-RU" sz="1200" b="0" i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i="1" dirty="0" smtClean="0">
                          <a:latin typeface="Times New Roman" pitchFamily="18" charset="0"/>
                          <a:cs typeface="Times New Roman" pitchFamily="18" charset="0"/>
                        </a:rPr>
                        <a:t>402,5</a:t>
                      </a:r>
                      <a:endParaRPr lang="ru-RU" sz="1200" i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i="1" dirty="0" smtClean="0">
                          <a:latin typeface="Times New Roman" pitchFamily="18" charset="0"/>
                          <a:cs typeface="Times New Roman" pitchFamily="18" charset="0"/>
                        </a:rPr>
                        <a:t>349,3</a:t>
                      </a:r>
                      <a:endParaRPr lang="ru-RU" sz="1200" i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i="1" dirty="0" smtClean="0">
                          <a:latin typeface="Times New Roman" pitchFamily="18" charset="0"/>
                          <a:cs typeface="Times New Roman" pitchFamily="18" charset="0"/>
                        </a:rPr>
                        <a:t>86,8</a:t>
                      </a:r>
                      <a:endParaRPr lang="ru-RU" sz="1200" i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5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"/>
            <a:ext cx="914399" cy="1066800"/>
          </a:xfrm>
          <a:prstGeom prst="rect">
            <a:avLst/>
          </a:prstGeom>
          <a:noFill/>
        </p:spPr>
      </p:pic>
      <p:sp>
        <p:nvSpPr>
          <p:cNvPr id="6" name="Заголовок 1"/>
          <p:cNvSpPr txBox="1">
            <a:spLocks/>
          </p:cNvSpPr>
          <p:nvPr/>
        </p:nvSpPr>
        <p:spPr>
          <a:xfrm>
            <a:off x="7391400" y="609600"/>
            <a:ext cx="1447800" cy="304800"/>
          </a:xfrm>
          <a:prstGeom prst="rect">
            <a:avLst/>
          </a:prstGeom>
        </p:spPr>
        <p:txBody>
          <a:bodyPr vert="horz" lIns="0" tIns="0" rIns="0" bIns="0" anchor="ctr" anchorCtr="1">
            <a:normAutofit fontScale="675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                                                                                                                 </a:t>
            </a:r>
            <a:r>
              <a:rPr lang="ru-RU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тыс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. рублей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" name="Содержимое 2"/>
          <p:cNvSpPr txBox="1">
            <a:spLocks/>
          </p:cNvSpPr>
          <p:nvPr/>
        </p:nvSpPr>
        <p:spPr>
          <a:xfrm>
            <a:off x="152400" y="1066800"/>
            <a:ext cx="4724400" cy="17526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>
            <a:noAutofit/>
          </a:bodyPr>
          <a:lstStyle/>
          <a:p>
            <a:pPr lvl="0" indent="457200" algn="just" fontAlgn="base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pitchFamily="2" charset="2"/>
              <a:buChar char="ü"/>
              <a:tabLst>
                <a:tab pos="3060700" algn="ctr"/>
              </a:tabLst>
            </a:pP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Наряду с расходами, представленными в муниципальных программах муниципального образования «Тайшетский район», в районном бюджете предусмотрены средства на содержание органов местного самоуправления района, 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в том </a:t>
            </a:r>
            <a:r>
              <a:rPr lang="ru-RU" sz="1200" dirty="0" smtClean="0">
                <a:solidFill>
                  <a:schemeClr val="tx1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числе обеспечивающих законодательные и контрольные функции, а также на реализацию отдельных мероприятий, осуществляемых органами местного самоуправления района и на осуществления государственных полномочий за счет средств федерального и областного бюджета. Указанные расходы в районном бюджете составили 1,4 %.</a:t>
            </a:r>
          </a:p>
        </p:txBody>
      </p:sp>
      <p:graphicFrame>
        <p:nvGraphicFramePr>
          <p:cNvPr id="8" name="Содержимое 17"/>
          <p:cNvGraphicFramePr>
            <a:graphicFrameLocks/>
          </p:cNvGraphicFramePr>
          <p:nvPr/>
        </p:nvGraphicFramePr>
        <p:xfrm>
          <a:off x="4953000" y="990602"/>
          <a:ext cx="4191000" cy="1725704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257300"/>
                <a:gridCol w="922020"/>
                <a:gridCol w="838200"/>
                <a:gridCol w="1173480"/>
              </a:tblGrid>
              <a:tr h="251011"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План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Факт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900" dirty="0" smtClean="0"/>
                        <a:t>Исполнение, %</a:t>
                      </a:r>
                      <a:endParaRPr lang="ru-RU" sz="900" dirty="0"/>
                    </a:p>
                  </a:txBody>
                  <a:tcPr/>
                </a:tc>
              </a:tr>
              <a:tr h="25101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Всего</a:t>
                      </a:r>
                      <a:r>
                        <a:rPr lang="ru-RU" sz="1000" baseline="0" dirty="0" smtClean="0"/>
                        <a:t> расходов</a:t>
                      </a:r>
                      <a:endParaRPr lang="ru-RU" sz="10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/>
                        <a:t>30 126,2</a:t>
                      </a:r>
                      <a:endParaRPr lang="ru-RU" sz="10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/>
                        <a:t>24 606,8</a:t>
                      </a:r>
                      <a:endParaRPr lang="ru-RU" sz="10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/>
                        <a:t>81,7</a:t>
                      </a:r>
                      <a:endParaRPr lang="ru-RU" sz="1000" b="0" dirty="0"/>
                    </a:p>
                  </a:txBody>
                  <a:tcPr/>
                </a:tc>
              </a:tr>
              <a:tr h="407894"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Областной бюджет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2 231,5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2 100,3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94,1</a:t>
                      </a:r>
                      <a:endParaRPr lang="ru-RU" sz="1000" dirty="0"/>
                    </a:p>
                  </a:txBody>
                  <a:tcPr/>
                </a:tc>
              </a:tr>
              <a:tr h="407894"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Районный бюджет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26 170,7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20 815,8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79,7</a:t>
                      </a:r>
                      <a:endParaRPr lang="ru-RU" sz="1000" dirty="0"/>
                    </a:p>
                  </a:txBody>
                  <a:tcPr/>
                </a:tc>
              </a:tr>
              <a:tr h="407894"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Бюджеты</a:t>
                      </a:r>
                      <a:r>
                        <a:rPr lang="ru-RU" sz="1000" baseline="0" dirty="0" smtClean="0"/>
                        <a:t> поселений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1 724,0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1 690,7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98,1</a:t>
                      </a:r>
                      <a:endParaRPr lang="ru-RU" sz="1000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757398" y="646837"/>
            <a:ext cx="7629204" cy="877163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3200" b="1" spc="50" dirty="0">
                <a:ln w="11430"/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+mn-lt"/>
              </a:rPr>
              <a:t>Спасибо за внимание</a:t>
            </a:r>
            <a:r>
              <a:rPr lang="ru-RU" sz="5400" b="1" spc="50" dirty="0">
                <a:ln w="11430"/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+mn-lt"/>
              </a:rPr>
              <a:t>!</a:t>
            </a:r>
          </a:p>
        </p:txBody>
      </p:sp>
      <p:sp>
        <p:nvSpPr>
          <p:cNvPr id="7" name="Шестиугольник 6"/>
          <p:cNvSpPr/>
          <p:nvPr/>
        </p:nvSpPr>
        <p:spPr>
          <a:xfrm>
            <a:off x="2514600" y="2133600"/>
            <a:ext cx="4191000" cy="3505200"/>
          </a:xfrm>
          <a:prstGeom prst="hexagon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10" name="TextBox 5"/>
          <p:cNvSpPr txBox="1">
            <a:spLocks noChangeArrowheads="1"/>
          </p:cNvSpPr>
          <p:nvPr/>
        </p:nvSpPr>
        <p:spPr bwMode="auto">
          <a:xfrm>
            <a:off x="3124200" y="2514601"/>
            <a:ext cx="2971800" cy="28253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>
            <a:spAutoFit/>
          </a:bodyPr>
          <a:lstStyle/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Char char="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t>Финансовое управление</a:t>
            </a:r>
          </a:p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t>Администрации Тайшетского района</a:t>
            </a:r>
          </a:p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Char char=""/>
              <a:tabLst/>
              <a:defRPr/>
            </a:pPr>
            <a:endParaRPr kumimoji="0" lang="en-US" sz="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Char char="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t> 665009, г. Тайшет, ул. Суворова. 13</a:t>
            </a:r>
            <a:b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</a:b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Char char="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t>Тел./факс: (395-63) 2-12-41</a:t>
            </a:r>
            <a:b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</a:b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t/>
            </a:r>
            <a:b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</a:b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t>Адрес электронной почты </a:t>
            </a:r>
          </a:p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Char char=""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  <a:hlinkClick r:id="rId2"/>
              </a:rPr>
              <a:t>fin31@gfu.ru</a:t>
            </a:r>
            <a:endParaRPr kumimoji="0" lang="ru-RU" sz="1400" b="1" i="0" u="none" strike="noStrike" kern="1200" cap="none" spc="0" normalizeH="0" baseline="0" noProof="0" dirty="0" smtClean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  <a:p>
            <a:pPr marL="274320" marR="0" lvl="0" indent="-27432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3"/>
              </a:buClr>
              <a:buSzPct val="95000"/>
              <a:buFont typeface="Wingdings 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t> 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9200" y="228600"/>
            <a:ext cx="7467600" cy="381000"/>
          </a:xfrm>
          <a:solidFill>
            <a:schemeClr val="bg1"/>
          </a:solidFill>
          <a:ln cap="sq">
            <a:solidFill>
              <a:schemeClr val="tx1"/>
            </a:solidFill>
            <a:prstDash val="solid"/>
          </a:ln>
        </p:spPr>
        <p:txBody>
          <a:bodyPr>
            <a:noAutofit/>
          </a:bodyPr>
          <a:lstStyle/>
          <a:p>
            <a:pPr algn="ctr"/>
            <a:r>
              <a:rPr lang="ru-RU" sz="2000" cap="none" dirty="0" smtClean="0">
                <a:ln w="10160">
                  <a:solidFill>
                    <a:srgbClr val="7030A0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32000" dir="5400000" algn="tl">
                    <a:srgbClr val="000000">
                      <a:alpha val="30000"/>
                    </a:srgbClr>
                  </a:outerShdw>
                </a:effectLst>
                <a:ea typeface="Batang" pitchFamily="18" charset="-127"/>
                <a:cs typeface="Arial" pitchFamily="34" charset="0"/>
              </a:rPr>
              <a:t>Бюджетная система и бюджетный процесс</a:t>
            </a:r>
            <a:endParaRPr lang="ru-RU" sz="2000" b="1" cap="none" dirty="0">
              <a:ln w="10541" cmpd="sng">
                <a:solidFill>
                  <a:srgbClr val="002060"/>
                </a:solidFill>
                <a:prstDash val="solid"/>
              </a:ln>
              <a:gradFill>
                <a:gsLst>
                  <a:gs pos="0">
                    <a:srgbClr val="FFFFFF">
                      <a:tint val="40000"/>
                      <a:satMod val="250000"/>
                    </a:srgbClr>
                  </a:gs>
                  <a:gs pos="9000">
                    <a:srgbClr val="FFFFFF">
                      <a:tint val="52000"/>
                      <a:satMod val="300000"/>
                    </a:srgbClr>
                  </a:gs>
                  <a:gs pos="50000">
                    <a:srgbClr val="FFFFFF">
                      <a:shade val="20000"/>
                      <a:satMod val="300000"/>
                    </a:srgbClr>
                  </a:gs>
                  <a:gs pos="79000">
                    <a:srgbClr val="FFFFFF">
                      <a:tint val="52000"/>
                      <a:satMod val="300000"/>
                    </a:srgbClr>
                  </a:gs>
                  <a:gs pos="100000">
                    <a:srgbClr val="FFFFFF">
                      <a:tint val="40000"/>
                      <a:satMod val="250000"/>
                    </a:srgbClr>
                  </a:gs>
                </a:gsLst>
                <a:lin ang="5400000"/>
              </a:gradFill>
              <a:effectLst/>
              <a:latin typeface="+mn-lt"/>
            </a:endParaRPr>
          </a:p>
        </p:txBody>
      </p:sp>
      <p:grpSp>
        <p:nvGrpSpPr>
          <p:cNvPr id="3" name="Группа 74"/>
          <p:cNvGrpSpPr/>
          <p:nvPr/>
        </p:nvGrpSpPr>
        <p:grpSpPr>
          <a:xfrm>
            <a:off x="457200" y="1676400"/>
            <a:ext cx="8534400" cy="2438399"/>
            <a:chOff x="457471" y="3580098"/>
            <a:chExt cx="8309544" cy="1673508"/>
          </a:xfrm>
        </p:grpSpPr>
        <p:sp>
          <p:nvSpPr>
            <p:cNvPr id="76" name="Полилиния 75"/>
            <p:cNvSpPr/>
            <p:nvPr/>
          </p:nvSpPr>
          <p:spPr>
            <a:xfrm>
              <a:off x="457471" y="3580098"/>
              <a:ext cx="7196659" cy="361775"/>
            </a:xfrm>
            <a:custGeom>
              <a:avLst/>
              <a:gdLst>
                <a:gd name="connsiteX0" fmla="*/ 97832 w 586978"/>
                <a:gd name="connsiteY0" fmla="*/ 0 h 7159291"/>
                <a:gd name="connsiteX1" fmla="*/ 489146 w 586978"/>
                <a:gd name="connsiteY1" fmla="*/ 0 h 7159291"/>
                <a:gd name="connsiteX2" fmla="*/ 558324 w 586978"/>
                <a:gd name="connsiteY2" fmla="*/ 28654 h 7159291"/>
                <a:gd name="connsiteX3" fmla="*/ 586978 w 586978"/>
                <a:gd name="connsiteY3" fmla="*/ 97832 h 7159291"/>
                <a:gd name="connsiteX4" fmla="*/ 586978 w 586978"/>
                <a:gd name="connsiteY4" fmla="*/ 7159291 h 7159291"/>
                <a:gd name="connsiteX5" fmla="*/ 586978 w 586978"/>
                <a:gd name="connsiteY5" fmla="*/ 7159291 h 7159291"/>
                <a:gd name="connsiteX6" fmla="*/ 586978 w 586978"/>
                <a:gd name="connsiteY6" fmla="*/ 7159291 h 7159291"/>
                <a:gd name="connsiteX7" fmla="*/ 0 w 586978"/>
                <a:gd name="connsiteY7" fmla="*/ 7159291 h 7159291"/>
                <a:gd name="connsiteX8" fmla="*/ 0 w 586978"/>
                <a:gd name="connsiteY8" fmla="*/ 7159291 h 7159291"/>
                <a:gd name="connsiteX9" fmla="*/ 0 w 586978"/>
                <a:gd name="connsiteY9" fmla="*/ 7159291 h 7159291"/>
                <a:gd name="connsiteX10" fmla="*/ 0 w 586978"/>
                <a:gd name="connsiteY10" fmla="*/ 97832 h 7159291"/>
                <a:gd name="connsiteX11" fmla="*/ 28654 w 586978"/>
                <a:gd name="connsiteY11" fmla="*/ 28654 h 7159291"/>
                <a:gd name="connsiteX12" fmla="*/ 97832 w 586978"/>
                <a:gd name="connsiteY12" fmla="*/ 0 h 71592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6978" h="7159291">
                  <a:moveTo>
                    <a:pt x="586978" y="1193248"/>
                  </a:moveTo>
                  <a:lnTo>
                    <a:pt x="586978" y="5966043"/>
                  </a:lnTo>
                  <a:cubicBezTo>
                    <a:pt x="586978" y="6282515"/>
                    <a:pt x="586133" y="6586021"/>
                    <a:pt x="584629" y="6809797"/>
                  </a:cubicBezTo>
                  <a:cubicBezTo>
                    <a:pt x="583124" y="7033572"/>
                    <a:pt x="581084" y="7159285"/>
                    <a:pt x="578957" y="7159285"/>
                  </a:cubicBezTo>
                  <a:lnTo>
                    <a:pt x="0" y="7159285"/>
                  </a:lnTo>
                  <a:lnTo>
                    <a:pt x="0" y="7159285"/>
                  </a:lnTo>
                  <a:lnTo>
                    <a:pt x="0" y="7159285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578957" y="6"/>
                  </a:lnTo>
                  <a:cubicBezTo>
                    <a:pt x="581084" y="6"/>
                    <a:pt x="583124" y="125719"/>
                    <a:pt x="584629" y="349494"/>
                  </a:cubicBezTo>
                  <a:cubicBezTo>
                    <a:pt x="586133" y="573270"/>
                    <a:pt x="586978" y="876776"/>
                    <a:pt x="586978" y="1193248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7151" tIns="57229" rIns="85804" bIns="57230" numCol="1" spcCol="1270" anchor="b" anchorCtr="0">
              <a:noAutofit/>
            </a:bodyPr>
            <a:lstStyle/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ru-RU" sz="1500" kern="1200" dirty="0"/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500" kern="1200" dirty="0" smtClean="0"/>
                <a:t>Решение Думы Тайшетского района об исполнении бюджета муниципального образования «Тайшетский район»</a:t>
              </a:r>
              <a:endParaRPr lang="ru-RU" sz="1500" kern="1200" dirty="0"/>
            </a:p>
          </p:txBody>
        </p:sp>
        <p:sp>
          <p:nvSpPr>
            <p:cNvPr id="78" name="Полилиния 77"/>
            <p:cNvSpPr/>
            <p:nvPr/>
          </p:nvSpPr>
          <p:spPr>
            <a:xfrm>
              <a:off x="754240" y="4050661"/>
              <a:ext cx="7270851" cy="326360"/>
            </a:xfrm>
            <a:custGeom>
              <a:avLst/>
              <a:gdLst>
                <a:gd name="connsiteX0" fmla="*/ 97832 w 586978"/>
                <a:gd name="connsiteY0" fmla="*/ 0 h 7226932"/>
                <a:gd name="connsiteX1" fmla="*/ 489146 w 586978"/>
                <a:gd name="connsiteY1" fmla="*/ 0 h 7226932"/>
                <a:gd name="connsiteX2" fmla="*/ 558324 w 586978"/>
                <a:gd name="connsiteY2" fmla="*/ 28654 h 7226932"/>
                <a:gd name="connsiteX3" fmla="*/ 586978 w 586978"/>
                <a:gd name="connsiteY3" fmla="*/ 97832 h 7226932"/>
                <a:gd name="connsiteX4" fmla="*/ 586978 w 586978"/>
                <a:gd name="connsiteY4" fmla="*/ 7226932 h 7226932"/>
                <a:gd name="connsiteX5" fmla="*/ 586978 w 586978"/>
                <a:gd name="connsiteY5" fmla="*/ 7226932 h 7226932"/>
                <a:gd name="connsiteX6" fmla="*/ 586978 w 586978"/>
                <a:gd name="connsiteY6" fmla="*/ 7226932 h 7226932"/>
                <a:gd name="connsiteX7" fmla="*/ 0 w 586978"/>
                <a:gd name="connsiteY7" fmla="*/ 7226932 h 7226932"/>
                <a:gd name="connsiteX8" fmla="*/ 0 w 586978"/>
                <a:gd name="connsiteY8" fmla="*/ 7226932 h 7226932"/>
                <a:gd name="connsiteX9" fmla="*/ 0 w 586978"/>
                <a:gd name="connsiteY9" fmla="*/ 7226932 h 7226932"/>
                <a:gd name="connsiteX10" fmla="*/ 0 w 586978"/>
                <a:gd name="connsiteY10" fmla="*/ 97832 h 7226932"/>
                <a:gd name="connsiteX11" fmla="*/ 28654 w 586978"/>
                <a:gd name="connsiteY11" fmla="*/ 28654 h 7226932"/>
                <a:gd name="connsiteX12" fmla="*/ 97832 w 586978"/>
                <a:gd name="connsiteY12" fmla="*/ 0 h 7226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6978" h="7226932">
                  <a:moveTo>
                    <a:pt x="586978" y="1204521"/>
                  </a:moveTo>
                  <a:lnTo>
                    <a:pt x="586978" y="6022411"/>
                  </a:lnTo>
                  <a:cubicBezTo>
                    <a:pt x="586978" y="6341872"/>
                    <a:pt x="586141" y="6648246"/>
                    <a:pt x="584651" y="6874136"/>
                  </a:cubicBezTo>
                  <a:cubicBezTo>
                    <a:pt x="583161" y="7100025"/>
                    <a:pt x="581139" y="7226926"/>
                    <a:pt x="579032" y="7226926"/>
                  </a:cubicBezTo>
                  <a:lnTo>
                    <a:pt x="0" y="7226926"/>
                  </a:lnTo>
                  <a:lnTo>
                    <a:pt x="0" y="7226926"/>
                  </a:lnTo>
                  <a:lnTo>
                    <a:pt x="0" y="722692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579032" y="6"/>
                  </a:lnTo>
                  <a:cubicBezTo>
                    <a:pt x="581139" y="6"/>
                    <a:pt x="583161" y="126907"/>
                    <a:pt x="584651" y="352796"/>
                  </a:cubicBezTo>
                  <a:cubicBezTo>
                    <a:pt x="586141" y="578686"/>
                    <a:pt x="586978" y="885060"/>
                    <a:pt x="586978" y="1204521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7150" tIns="57230" rIns="85804" bIns="57230" numCol="1" spcCol="1270" anchor="b" anchorCtr="0">
              <a:noAutofit/>
            </a:bodyPr>
            <a:lstStyle/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ru-RU" sz="1500" kern="1200" dirty="0"/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500" kern="1200" dirty="0" smtClean="0"/>
                <a:t>Доклад о ходе реализации муниципальных программ муниципального образования «Тайшетский район»</a:t>
              </a:r>
              <a:endParaRPr lang="ru-RU" sz="1500" kern="1200" dirty="0"/>
            </a:p>
          </p:txBody>
        </p:sp>
        <p:sp>
          <p:nvSpPr>
            <p:cNvPr id="81" name="Полилиния 80"/>
            <p:cNvSpPr/>
            <p:nvPr/>
          </p:nvSpPr>
          <p:spPr>
            <a:xfrm>
              <a:off x="1718741" y="4939824"/>
              <a:ext cx="7048274" cy="313782"/>
            </a:xfrm>
            <a:custGeom>
              <a:avLst/>
              <a:gdLst>
                <a:gd name="connsiteX0" fmla="*/ 97832 w 586978"/>
                <a:gd name="connsiteY0" fmla="*/ 0 h 7260897"/>
                <a:gd name="connsiteX1" fmla="*/ 489146 w 586978"/>
                <a:gd name="connsiteY1" fmla="*/ 0 h 7260897"/>
                <a:gd name="connsiteX2" fmla="*/ 558324 w 586978"/>
                <a:gd name="connsiteY2" fmla="*/ 28654 h 7260897"/>
                <a:gd name="connsiteX3" fmla="*/ 586978 w 586978"/>
                <a:gd name="connsiteY3" fmla="*/ 97832 h 7260897"/>
                <a:gd name="connsiteX4" fmla="*/ 586978 w 586978"/>
                <a:gd name="connsiteY4" fmla="*/ 7260897 h 7260897"/>
                <a:gd name="connsiteX5" fmla="*/ 586978 w 586978"/>
                <a:gd name="connsiteY5" fmla="*/ 7260897 h 7260897"/>
                <a:gd name="connsiteX6" fmla="*/ 586978 w 586978"/>
                <a:gd name="connsiteY6" fmla="*/ 7260897 h 7260897"/>
                <a:gd name="connsiteX7" fmla="*/ 0 w 586978"/>
                <a:gd name="connsiteY7" fmla="*/ 7260897 h 7260897"/>
                <a:gd name="connsiteX8" fmla="*/ 0 w 586978"/>
                <a:gd name="connsiteY8" fmla="*/ 7260897 h 7260897"/>
                <a:gd name="connsiteX9" fmla="*/ 0 w 586978"/>
                <a:gd name="connsiteY9" fmla="*/ 7260897 h 7260897"/>
                <a:gd name="connsiteX10" fmla="*/ 0 w 586978"/>
                <a:gd name="connsiteY10" fmla="*/ 97832 h 7260897"/>
                <a:gd name="connsiteX11" fmla="*/ 28654 w 586978"/>
                <a:gd name="connsiteY11" fmla="*/ 28654 h 7260897"/>
                <a:gd name="connsiteX12" fmla="*/ 97832 w 586978"/>
                <a:gd name="connsiteY12" fmla="*/ 0 h 7260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6978" h="7260897">
                  <a:moveTo>
                    <a:pt x="586978" y="1210182"/>
                  </a:moveTo>
                  <a:lnTo>
                    <a:pt x="586978" y="6050715"/>
                  </a:lnTo>
                  <a:cubicBezTo>
                    <a:pt x="586978" y="6371677"/>
                    <a:pt x="586145" y="6679491"/>
                    <a:pt x="584662" y="6906442"/>
                  </a:cubicBezTo>
                  <a:cubicBezTo>
                    <a:pt x="583178" y="7133394"/>
                    <a:pt x="581167" y="7260891"/>
                    <a:pt x="579069" y="7260891"/>
                  </a:cubicBezTo>
                  <a:lnTo>
                    <a:pt x="0" y="7260891"/>
                  </a:lnTo>
                  <a:lnTo>
                    <a:pt x="0" y="7260891"/>
                  </a:lnTo>
                  <a:lnTo>
                    <a:pt x="0" y="7260891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579069" y="6"/>
                  </a:lnTo>
                  <a:cubicBezTo>
                    <a:pt x="581167" y="6"/>
                    <a:pt x="583178" y="127503"/>
                    <a:pt x="584662" y="354455"/>
                  </a:cubicBezTo>
                  <a:cubicBezTo>
                    <a:pt x="586145" y="581406"/>
                    <a:pt x="586978" y="889220"/>
                    <a:pt x="586978" y="1210182"/>
                  </a:cubicBez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57151" tIns="57229" rIns="85804" bIns="57230" numCol="1" spcCol="1270" anchor="b" anchorCtr="0">
              <a:noAutofit/>
            </a:bodyPr>
            <a:lstStyle/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ru-RU" sz="1500" kern="1200" dirty="0"/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ru-RU" sz="1500" kern="1200" dirty="0" smtClean="0"/>
                <a:t>Годовой отчет об исполнении бюджета муниципального образования «Тайшетский район»</a:t>
              </a:r>
              <a:endParaRPr lang="ru-RU" sz="1500" kern="1200" dirty="0"/>
            </a:p>
          </p:txBody>
        </p:sp>
      </p:grpSp>
      <p:pic>
        <p:nvPicPr>
          <p:cNvPr id="5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399" cy="1066799"/>
          </a:xfrm>
          <a:prstGeom prst="rect">
            <a:avLst/>
          </a:prstGeom>
          <a:noFill/>
        </p:spPr>
      </p:pic>
      <p:sp>
        <p:nvSpPr>
          <p:cNvPr id="7" name="Заголовок 1"/>
          <p:cNvSpPr txBox="1">
            <a:spLocks/>
          </p:cNvSpPr>
          <p:nvPr/>
        </p:nvSpPr>
        <p:spPr>
          <a:xfrm>
            <a:off x="914400" y="914400"/>
            <a:ext cx="8077200" cy="6096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cap="sq">
            <a:noFill/>
            <a:prstDash val="solid"/>
          </a:ln>
        </p:spPr>
        <p:txBody>
          <a:bodyPr vert="horz" lIns="0" rIns="0" bIns="0" anchor="b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i="1" u="sng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Документы, в которых отражаются итоги исполнения бюджета муниципального образования «Тайшетский</a:t>
            </a:r>
            <a:r>
              <a:rPr kumimoji="0" lang="ru-RU" sz="1600" i="1" u="sng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район» за истекший финансовый год</a:t>
            </a:r>
            <a:endParaRPr kumimoji="0" lang="ru-RU" sz="1600" i="1" u="sng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83" name="Полилиния 82"/>
          <p:cNvSpPr/>
          <p:nvPr/>
        </p:nvSpPr>
        <p:spPr>
          <a:xfrm>
            <a:off x="1143000" y="2971800"/>
            <a:ext cx="7543800" cy="609600"/>
          </a:xfrm>
          <a:custGeom>
            <a:avLst/>
            <a:gdLst>
              <a:gd name="connsiteX0" fmla="*/ 97832 w 586978"/>
              <a:gd name="connsiteY0" fmla="*/ 0 h 7226932"/>
              <a:gd name="connsiteX1" fmla="*/ 489146 w 586978"/>
              <a:gd name="connsiteY1" fmla="*/ 0 h 7226932"/>
              <a:gd name="connsiteX2" fmla="*/ 558324 w 586978"/>
              <a:gd name="connsiteY2" fmla="*/ 28654 h 7226932"/>
              <a:gd name="connsiteX3" fmla="*/ 586978 w 586978"/>
              <a:gd name="connsiteY3" fmla="*/ 97832 h 7226932"/>
              <a:gd name="connsiteX4" fmla="*/ 586978 w 586978"/>
              <a:gd name="connsiteY4" fmla="*/ 7226932 h 7226932"/>
              <a:gd name="connsiteX5" fmla="*/ 586978 w 586978"/>
              <a:gd name="connsiteY5" fmla="*/ 7226932 h 7226932"/>
              <a:gd name="connsiteX6" fmla="*/ 586978 w 586978"/>
              <a:gd name="connsiteY6" fmla="*/ 7226932 h 7226932"/>
              <a:gd name="connsiteX7" fmla="*/ 0 w 586978"/>
              <a:gd name="connsiteY7" fmla="*/ 7226932 h 7226932"/>
              <a:gd name="connsiteX8" fmla="*/ 0 w 586978"/>
              <a:gd name="connsiteY8" fmla="*/ 7226932 h 7226932"/>
              <a:gd name="connsiteX9" fmla="*/ 0 w 586978"/>
              <a:gd name="connsiteY9" fmla="*/ 7226932 h 7226932"/>
              <a:gd name="connsiteX10" fmla="*/ 0 w 586978"/>
              <a:gd name="connsiteY10" fmla="*/ 97832 h 7226932"/>
              <a:gd name="connsiteX11" fmla="*/ 28654 w 586978"/>
              <a:gd name="connsiteY11" fmla="*/ 28654 h 7226932"/>
              <a:gd name="connsiteX12" fmla="*/ 97832 w 586978"/>
              <a:gd name="connsiteY12" fmla="*/ 0 h 7226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86978" h="7226932">
                <a:moveTo>
                  <a:pt x="586978" y="1204521"/>
                </a:moveTo>
                <a:lnTo>
                  <a:pt x="586978" y="6022411"/>
                </a:lnTo>
                <a:cubicBezTo>
                  <a:pt x="586978" y="6341872"/>
                  <a:pt x="586141" y="6648246"/>
                  <a:pt x="584651" y="6874136"/>
                </a:cubicBezTo>
                <a:cubicBezTo>
                  <a:pt x="583161" y="7100025"/>
                  <a:pt x="581139" y="7226926"/>
                  <a:pt x="579032" y="7226926"/>
                </a:cubicBezTo>
                <a:lnTo>
                  <a:pt x="0" y="7226926"/>
                </a:lnTo>
                <a:lnTo>
                  <a:pt x="0" y="7226926"/>
                </a:lnTo>
                <a:lnTo>
                  <a:pt x="0" y="7226926"/>
                </a:lnTo>
                <a:lnTo>
                  <a:pt x="0" y="6"/>
                </a:lnTo>
                <a:lnTo>
                  <a:pt x="0" y="6"/>
                </a:lnTo>
                <a:lnTo>
                  <a:pt x="0" y="6"/>
                </a:lnTo>
                <a:lnTo>
                  <a:pt x="579032" y="6"/>
                </a:lnTo>
                <a:cubicBezTo>
                  <a:pt x="581139" y="6"/>
                  <a:pt x="583161" y="126907"/>
                  <a:pt x="584651" y="352796"/>
                </a:cubicBezTo>
                <a:cubicBezTo>
                  <a:pt x="586141" y="578686"/>
                  <a:pt x="586978" y="885060"/>
                  <a:pt x="586978" y="1204521"/>
                </a:cubicBez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7150" tIns="57230" rIns="85804" bIns="57230" numCol="1" spcCol="1270" anchor="ctr" anchorCtr="0">
            <a:noAutofit/>
          </a:bodyPr>
          <a:lstStyle/>
          <a:p>
            <a:pPr marL="114300" lvl="1" indent="-114300" algn="l" defTabSz="66675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 typeface="Arial" pitchFamily="34" charset="0"/>
              <a:buChar char="•"/>
            </a:pPr>
            <a:r>
              <a:rPr lang="ru-RU" sz="1500" kern="1200" dirty="0" smtClean="0"/>
              <a:t>Отчеты ответственных органов исполнительной власти муниципального образования «Тайшетский район» об исполнении муниципальных программ</a:t>
            </a:r>
            <a:endParaRPr lang="ru-RU" sz="1500" kern="1200" dirty="0"/>
          </a:p>
        </p:txBody>
      </p:sp>
      <p:pic>
        <p:nvPicPr>
          <p:cNvPr id="1026" name="Picture 2" descr="C:\Users\finupr\Desktop\i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2400" y="4495800"/>
            <a:ext cx="2514600" cy="2133600"/>
          </a:xfrm>
          <a:prstGeom prst="rect">
            <a:avLst/>
          </a:prstGeom>
          <a:noFill/>
        </p:spPr>
      </p:pic>
      <p:sp>
        <p:nvSpPr>
          <p:cNvPr id="27" name="TextBox 26"/>
          <p:cNvSpPr txBox="1"/>
          <p:nvPr/>
        </p:nvSpPr>
        <p:spPr>
          <a:xfrm>
            <a:off x="2743200" y="4267200"/>
            <a:ext cx="3352800" cy="18774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i="1" dirty="0" smtClean="0"/>
              <a:t>Понятие «Исполнение бюджета»</a:t>
            </a:r>
          </a:p>
          <a:p>
            <a:endParaRPr lang="ru-RU" sz="1600" b="1" dirty="0" smtClean="0"/>
          </a:p>
          <a:p>
            <a:pPr algn="ctr"/>
            <a:r>
              <a:rPr lang="ru-RU" sz="1400" dirty="0" smtClean="0"/>
              <a:t>Исполнение бюджета  -   это этап бюджетного процесса, который начинается  с момента утверждения решения о бюджете  Думой Тайшетского района и продолжается в течение финансового года</a:t>
            </a:r>
            <a:endParaRPr lang="ru-RU" sz="1400" dirty="0"/>
          </a:p>
        </p:txBody>
      </p:sp>
      <p:pic>
        <p:nvPicPr>
          <p:cNvPr id="4" name="Picture 2" descr="C:\Users\finupr\Desktop\byudzhet-voronezha-naxoditsya-pod-ugrozoj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248400" y="4572000"/>
            <a:ext cx="2590800" cy="213360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6"/>
          <p:cNvSpPr txBox="1">
            <a:spLocks noChangeArrowheads="1"/>
          </p:cNvSpPr>
          <p:nvPr/>
        </p:nvSpPr>
        <p:spPr bwMode="auto">
          <a:xfrm>
            <a:off x="990600" y="344389"/>
            <a:ext cx="7924800" cy="707886"/>
          </a:xfrm>
          <a:prstGeom prst="rect">
            <a:avLst/>
          </a:prstGeom>
          <a:solidFill>
            <a:srgbClr val="FFFFFF"/>
          </a:solidFill>
          <a:ln>
            <a:solidFill>
              <a:schemeClr val="accent4"/>
            </a:solidFill>
          </a:ln>
        </p:spPr>
        <p:txBody>
          <a:bodyPr wrap="square" rtlCol="0" anchor="ctr" anchorCtr="1">
            <a:spAutoFit/>
          </a:bodyPr>
          <a:lstStyle>
            <a:defPPr>
              <a:defRPr lang="ru-RU"/>
            </a:defPPr>
            <a:lvl1pPr>
              <a:defRPr sz="1600" b="1">
                <a:solidFill>
                  <a:srgbClr val="E6E7DB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algn="ctr"/>
            <a:r>
              <a:rPr lang="ru-RU" sz="2000" b="0" dirty="0" smtClean="0">
                <a:solidFill>
                  <a:srgbClr val="7030A0"/>
                </a:solidFill>
                <a:latin typeface="+mn-lt"/>
                <a:cs typeface="Arial" pitchFamily="34" charset="0"/>
              </a:rPr>
              <a:t>Основные характеристики консолидированного </a:t>
            </a:r>
            <a:r>
              <a:rPr lang="ru-RU" sz="2000" b="0" dirty="0">
                <a:solidFill>
                  <a:srgbClr val="7030A0"/>
                </a:solidFill>
                <a:latin typeface="+mn-lt"/>
                <a:cs typeface="Arial" pitchFamily="34" charset="0"/>
              </a:rPr>
              <a:t>бюджета </a:t>
            </a:r>
            <a:r>
              <a:rPr lang="ru-RU" sz="2000" b="0" dirty="0" smtClean="0">
                <a:solidFill>
                  <a:srgbClr val="7030A0"/>
                </a:solidFill>
                <a:latin typeface="+mn-lt"/>
                <a:cs typeface="Arial" pitchFamily="34" charset="0"/>
              </a:rPr>
              <a:t>муниципального образования «Тайшетский район»</a:t>
            </a:r>
            <a:r>
              <a:rPr lang="ru-RU" sz="2000" b="0" dirty="0">
                <a:solidFill>
                  <a:srgbClr val="7030A0"/>
                </a:solidFill>
                <a:latin typeface="+mn-lt"/>
                <a:cs typeface="Arial" pitchFamily="34" charset="0"/>
              </a:rPr>
              <a:t> </a:t>
            </a:r>
            <a:r>
              <a:rPr lang="ru-RU" sz="2000" b="0" dirty="0" smtClean="0">
                <a:solidFill>
                  <a:srgbClr val="7030A0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3" name="Text Box 28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14400" y="1219201"/>
            <a:ext cx="7848600" cy="739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549" tIns="46276" rIns="92549" bIns="46276">
            <a:spAutoFit/>
          </a:bodyPr>
          <a:lstStyle>
            <a:lvl1pPr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598613" indent="-227013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i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КОНСОЛИДИРОВАННЫЙ   БЮДЖЕТ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                 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sz="1400" b="1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pic>
        <p:nvPicPr>
          <p:cNvPr id="10" name="Picture 2" descr="C:\Users\finupr\Desktop\gerb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" y="1"/>
            <a:ext cx="914399" cy="1066799"/>
          </a:xfrm>
          <a:prstGeom prst="rect">
            <a:avLst/>
          </a:prstGeom>
          <a:noFill/>
        </p:spPr>
      </p:pic>
      <p:sp>
        <p:nvSpPr>
          <p:cNvPr id="25" name="Text Box 28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09601" y="4724400"/>
            <a:ext cx="8077200" cy="11706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549" tIns="46276" rIns="92549" bIns="46276">
            <a:spAutoFit/>
          </a:bodyPr>
          <a:lstStyle>
            <a:lvl1pPr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598613" indent="-227013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just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rgbClr val="000000"/>
                </a:solidFill>
                <a:cs typeface="Times New Roman" pitchFamily="18" charset="0"/>
              </a:rPr>
              <a:t>Удельный вес налоговых и неналоговых доходов составил  29,2 % от общего объема доходов.</a:t>
            </a:r>
          </a:p>
          <a:p>
            <a:pPr algn="just"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sz="1400" dirty="0" smtClean="0">
              <a:solidFill>
                <a:srgbClr val="000000"/>
              </a:solidFill>
              <a:cs typeface="Times New Roman" pitchFamily="18" charset="0"/>
            </a:endParaRPr>
          </a:p>
          <a:p>
            <a:pPr algn="just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rgbClr val="000000"/>
                </a:solidFill>
                <a:cs typeface="Times New Roman" pitchFamily="18" charset="0"/>
              </a:rPr>
              <a:t>В 2017 году </a:t>
            </a:r>
            <a:r>
              <a:rPr lang="ru-RU" sz="1400" dirty="0" smtClean="0">
                <a:cs typeface="Times New Roman" pitchFamily="18" charset="0"/>
              </a:rPr>
              <a:t> сохранилась зависимость консолидированного бюджета муниципального образования «Тайшетский район» от безвозмездных поступлений из областного бюджета (удельный вес в общей сумме доходов составил – 70,8 %).</a:t>
            </a:r>
            <a:endParaRPr lang="ru-RU" sz="1400" dirty="0">
              <a:solidFill>
                <a:srgbClr val="0070C0"/>
              </a:solidFill>
              <a:cs typeface="Times New Roman" pitchFamily="18" charset="0"/>
            </a:endParaRPr>
          </a:p>
        </p:txBody>
      </p:sp>
      <p:sp>
        <p:nvSpPr>
          <p:cNvPr id="26" name="Text Box 28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28600" y="6096000"/>
            <a:ext cx="8763000" cy="4166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549" tIns="46276" rIns="92549" bIns="46276">
            <a:spAutoFit/>
          </a:bodyPr>
          <a:lstStyle>
            <a:lvl1pPr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598613" indent="-227013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sz="105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* При консолидации бюджетов межбюджетные трансферты исключаются из доходной и расходной частей в целях недопущения двойного учета средств.</a:t>
            </a: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/>
        </p:nvGraphicFramePr>
        <p:xfrm>
          <a:off x="609600" y="1676402"/>
          <a:ext cx="8077200" cy="275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52600"/>
                <a:gridCol w="1295400"/>
                <a:gridCol w="1219200"/>
                <a:gridCol w="1447800"/>
                <a:gridCol w="1143000"/>
                <a:gridCol w="1219200"/>
              </a:tblGrid>
              <a:tr h="45720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6  год (факт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7 год (план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2017 год (факт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Исполнение (%)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Динамика 2017/2016 (%)</a:t>
                      </a:r>
                      <a:endParaRPr lang="ru-RU" sz="1200" dirty="0"/>
                    </a:p>
                  </a:txBody>
                  <a:tcPr/>
                </a:tc>
              </a:tr>
              <a:tr h="431800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itchFamily="18" charset="0"/>
                          <a:cs typeface="Times New Roman" pitchFamily="18" charset="0"/>
                        </a:rPr>
                        <a:t>1 998,8</a:t>
                      </a:r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itchFamily="18" charset="0"/>
                          <a:cs typeface="Times New Roman" pitchFamily="18" charset="0"/>
                        </a:rPr>
                        <a:t>2 538,9</a:t>
                      </a:r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itchFamily="18" charset="0"/>
                          <a:cs typeface="Times New Roman" pitchFamily="18" charset="0"/>
                        </a:rPr>
                        <a:t>2 463,0</a:t>
                      </a:r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itchFamily="18" charset="0"/>
                          <a:cs typeface="Times New Roman" pitchFamily="18" charset="0"/>
                        </a:rPr>
                        <a:t>97,0</a:t>
                      </a:r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itchFamily="18" charset="0"/>
                          <a:cs typeface="Times New Roman" pitchFamily="18" charset="0"/>
                        </a:rPr>
                        <a:t>123,2</a:t>
                      </a:r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457200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Налоговые и неналоговые доходы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itchFamily="18" charset="0"/>
                          <a:cs typeface="Times New Roman" pitchFamily="18" charset="0"/>
                        </a:rPr>
                        <a:t>647,3</a:t>
                      </a:r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itchFamily="18" charset="0"/>
                          <a:cs typeface="Times New Roman" pitchFamily="18" charset="0"/>
                        </a:rPr>
                        <a:t>708,0</a:t>
                      </a:r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itchFamily="18" charset="0"/>
                          <a:cs typeface="Times New Roman" pitchFamily="18" charset="0"/>
                        </a:rPr>
                        <a:t>719,3</a:t>
                      </a:r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itchFamily="18" charset="0"/>
                          <a:cs typeface="Times New Roman" pitchFamily="18" charset="0"/>
                        </a:rPr>
                        <a:t>101,6</a:t>
                      </a:r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itchFamily="18" charset="0"/>
                          <a:cs typeface="Times New Roman" pitchFamily="18" charset="0"/>
                        </a:rPr>
                        <a:t>109,4</a:t>
                      </a:r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457200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Безвозмездные поступления</a:t>
                      </a:r>
                      <a:endParaRPr lang="ru-RU" sz="12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itchFamily="18" charset="0"/>
                          <a:cs typeface="Times New Roman" pitchFamily="18" charset="0"/>
                        </a:rPr>
                        <a:t>1 351,4</a:t>
                      </a:r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itchFamily="18" charset="0"/>
                          <a:cs typeface="Times New Roman" pitchFamily="18" charset="0"/>
                        </a:rPr>
                        <a:t>1 830,9</a:t>
                      </a:r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itchFamily="18" charset="0"/>
                          <a:cs typeface="Times New Roman" pitchFamily="18" charset="0"/>
                        </a:rPr>
                        <a:t>1 743,7</a:t>
                      </a:r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itchFamily="18" charset="0"/>
                          <a:cs typeface="Times New Roman" pitchFamily="18" charset="0"/>
                        </a:rPr>
                        <a:t>95,2</a:t>
                      </a:r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Times New Roman" pitchFamily="18" charset="0"/>
                          <a:cs typeface="Times New Roman" pitchFamily="18" charset="0"/>
                        </a:rPr>
                        <a:t>135,5</a:t>
                      </a:r>
                      <a:endParaRPr lang="ru-RU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431800"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itchFamily="18" charset="0"/>
                          <a:cs typeface="Times New Roman" pitchFamily="18" charset="0"/>
                        </a:rPr>
                        <a:t>2 048,8</a:t>
                      </a:r>
                      <a:endParaRPr lang="ru-RU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itchFamily="18" charset="0"/>
                          <a:cs typeface="Times New Roman" pitchFamily="18" charset="0"/>
                        </a:rPr>
                        <a:t>2 543,6</a:t>
                      </a:r>
                      <a:endParaRPr lang="ru-RU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itchFamily="18" charset="0"/>
                          <a:cs typeface="Times New Roman" pitchFamily="18" charset="0"/>
                        </a:rPr>
                        <a:t>2 366,3</a:t>
                      </a:r>
                      <a:endParaRPr lang="ru-RU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itchFamily="18" charset="0"/>
                          <a:cs typeface="Times New Roman" pitchFamily="18" charset="0"/>
                        </a:rPr>
                        <a:t>93,0</a:t>
                      </a:r>
                      <a:endParaRPr lang="ru-RU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itchFamily="18" charset="0"/>
                          <a:cs typeface="Times New Roman" pitchFamily="18" charset="0"/>
                        </a:rPr>
                        <a:t>124,2</a:t>
                      </a:r>
                      <a:endParaRPr lang="ru-RU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518160"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Дефицит (-), профицит (+)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itchFamily="18" charset="0"/>
                          <a:cs typeface="Times New Roman" pitchFamily="18" charset="0"/>
                        </a:rPr>
                        <a:t>-50,0</a:t>
                      </a:r>
                      <a:endParaRPr lang="ru-RU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itchFamily="18" charset="0"/>
                          <a:cs typeface="Times New Roman" pitchFamily="18" charset="0"/>
                        </a:rPr>
                        <a:t>-4,7</a:t>
                      </a:r>
                      <a:endParaRPr lang="ru-RU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 pitchFamily="18" charset="0"/>
                          <a:cs typeface="Times New Roman" pitchFamily="18" charset="0"/>
                        </a:rPr>
                        <a:t>96,7</a:t>
                      </a:r>
                      <a:endParaRPr lang="ru-RU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8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7467600" y="1447800"/>
            <a:ext cx="10668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/>
              <a:t>млн. рублей</a:t>
            </a:r>
            <a:endParaRPr lang="ru-RU" sz="1000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990600" y="1295401"/>
            <a:ext cx="7696200" cy="685799"/>
          </a:xfrm>
          <a:solidFill>
            <a:schemeClr val="bg2"/>
          </a:solidFill>
        </p:spPr>
        <p:txBody>
          <a:bodyPr>
            <a:normAutofit/>
          </a:bodyPr>
          <a:lstStyle/>
          <a:p>
            <a:pPr algn="ctr">
              <a:buNone/>
            </a:pPr>
            <a:r>
              <a:rPr lang="ru-RU" sz="1800" dirty="0" smtClean="0"/>
              <a:t> Обеспеченность одного жителя собственными налоговыми и неналоговыми доходами, рублей</a:t>
            </a:r>
            <a:endParaRPr lang="ru-RU" sz="1800" dirty="0"/>
          </a:p>
        </p:txBody>
      </p:sp>
      <p:pic>
        <p:nvPicPr>
          <p:cNvPr id="4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1"/>
            <a:ext cx="914399" cy="1066799"/>
          </a:xfrm>
          <a:prstGeom prst="rect">
            <a:avLst/>
          </a:prstGeom>
          <a:noFill/>
        </p:spPr>
      </p:pic>
      <p:sp>
        <p:nvSpPr>
          <p:cNvPr id="5" name="TextBox 16"/>
          <p:cNvSpPr txBox="1">
            <a:spLocks noChangeArrowheads="1"/>
          </p:cNvSpPr>
          <p:nvPr/>
        </p:nvSpPr>
        <p:spPr bwMode="auto">
          <a:xfrm>
            <a:off x="990600" y="297223"/>
            <a:ext cx="7924800" cy="707886"/>
          </a:xfrm>
          <a:prstGeom prst="rect">
            <a:avLst/>
          </a:prstGeom>
          <a:solidFill>
            <a:srgbClr val="FFFFFF"/>
          </a:solidFill>
          <a:ln>
            <a:solidFill>
              <a:schemeClr val="accent4"/>
            </a:solidFill>
          </a:ln>
        </p:spPr>
        <p:txBody>
          <a:bodyPr wrap="square" rtlCol="0" anchor="ctr" anchorCtr="1">
            <a:spAutoFit/>
          </a:bodyPr>
          <a:lstStyle>
            <a:defPPr>
              <a:defRPr lang="ru-RU"/>
            </a:defPPr>
            <a:lvl1pPr>
              <a:defRPr sz="1600" b="1">
                <a:solidFill>
                  <a:srgbClr val="E6E7DB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algn="ctr"/>
            <a:r>
              <a:rPr lang="ru-RU" sz="2000" b="0" dirty="0" smtClean="0">
                <a:solidFill>
                  <a:srgbClr val="7030A0"/>
                </a:solidFill>
                <a:latin typeface="+mn-lt"/>
                <a:cs typeface="Arial" pitchFamily="34" charset="0"/>
              </a:rPr>
              <a:t>Основные характеристики консолидированного </a:t>
            </a:r>
            <a:r>
              <a:rPr lang="ru-RU" sz="2000" b="0" dirty="0">
                <a:solidFill>
                  <a:srgbClr val="7030A0"/>
                </a:solidFill>
                <a:latin typeface="+mn-lt"/>
                <a:cs typeface="Arial" pitchFamily="34" charset="0"/>
              </a:rPr>
              <a:t>бюджета </a:t>
            </a:r>
            <a:r>
              <a:rPr lang="ru-RU" sz="2000" b="0" dirty="0" smtClean="0">
                <a:solidFill>
                  <a:srgbClr val="7030A0"/>
                </a:solidFill>
                <a:latin typeface="+mn-lt"/>
                <a:cs typeface="Arial" pitchFamily="34" charset="0"/>
              </a:rPr>
              <a:t>муниципального образования «Тайшетский район»</a:t>
            </a:r>
            <a:r>
              <a:rPr lang="ru-RU" sz="2000" b="0" dirty="0">
                <a:solidFill>
                  <a:srgbClr val="7030A0"/>
                </a:solidFill>
                <a:latin typeface="+mn-lt"/>
                <a:cs typeface="Arial" pitchFamily="34" charset="0"/>
              </a:rPr>
              <a:t> </a:t>
            </a:r>
            <a:r>
              <a:rPr lang="ru-RU" sz="2000" b="0" dirty="0" smtClean="0">
                <a:solidFill>
                  <a:srgbClr val="7030A0"/>
                </a:solidFill>
                <a:latin typeface="+mn-lt"/>
                <a:cs typeface="Arial" pitchFamily="34" charset="0"/>
              </a:rPr>
              <a:t> </a:t>
            </a:r>
          </a:p>
        </p:txBody>
      </p:sp>
      <p:graphicFrame>
        <p:nvGraphicFramePr>
          <p:cNvPr id="9" name="Диаграмма 8"/>
          <p:cNvGraphicFramePr/>
          <p:nvPr/>
        </p:nvGraphicFramePr>
        <p:xfrm>
          <a:off x="762000" y="2057400"/>
          <a:ext cx="7772400" cy="406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2" name="Прямая со стрелкой 11"/>
          <p:cNvCxnSpPr/>
          <p:nvPr/>
        </p:nvCxnSpPr>
        <p:spPr>
          <a:xfrm flipV="1">
            <a:off x="2590800" y="2895600"/>
            <a:ext cx="838200" cy="304800"/>
          </a:xfrm>
          <a:prstGeom prst="straightConnector1">
            <a:avLst/>
          </a:prstGeom>
          <a:ln>
            <a:solidFill>
              <a:srgbClr val="7030A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Содержимое 2"/>
          <p:cNvSpPr txBox="1">
            <a:spLocks/>
          </p:cNvSpPr>
          <p:nvPr/>
        </p:nvSpPr>
        <p:spPr>
          <a:xfrm>
            <a:off x="1143000" y="1828799"/>
            <a:ext cx="685800" cy="457201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 2"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Прямоугольник 17"/>
          <p:cNvSpPr/>
          <p:nvPr/>
        </p:nvSpPr>
        <p:spPr>
          <a:xfrm rot="20281433">
            <a:off x="2433731" y="2631047"/>
            <a:ext cx="862841" cy="338431"/>
          </a:xfrm>
          <a:prstGeom prst="rect">
            <a:avLst/>
          </a:prstGeom>
          <a:solidFill>
            <a:schemeClr val="bg1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schemeClr val="tx1"/>
                </a:solidFill>
              </a:rPr>
              <a:t>+ 1 045,4</a:t>
            </a:r>
            <a:endParaRPr lang="ru-RU" sz="1000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finupr\Desktop\gerb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1"/>
            <a:ext cx="914399" cy="1066799"/>
          </a:xfrm>
          <a:prstGeom prst="rect">
            <a:avLst/>
          </a:prstGeom>
          <a:noFill/>
        </p:spPr>
      </p:pic>
      <p:sp>
        <p:nvSpPr>
          <p:cNvPr id="4" name="TextBox 16"/>
          <p:cNvSpPr txBox="1">
            <a:spLocks noChangeArrowheads="1"/>
          </p:cNvSpPr>
          <p:nvPr/>
        </p:nvSpPr>
        <p:spPr bwMode="auto">
          <a:xfrm>
            <a:off x="990600" y="297223"/>
            <a:ext cx="7924800" cy="707886"/>
          </a:xfrm>
          <a:prstGeom prst="rect">
            <a:avLst/>
          </a:prstGeom>
          <a:solidFill>
            <a:srgbClr val="FFFFFF"/>
          </a:solidFill>
          <a:ln>
            <a:solidFill>
              <a:schemeClr val="accent4"/>
            </a:solidFill>
          </a:ln>
        </p:spPr>
        <p:txBody>
          <a:bodyPr wrap="square" rtlCol="0" anchor="ctr" anchorCtr="1">
            <a:spAutoFit/>
          </a:bodyPr>
          <a:lstStyle>
            <a:defPPr>
              <a:defRPr lang="ru-RU"/>
            </a:defPPr>
            <a:lvl1pPr>
              <a:defRPr sz="1600" b="1">
                <a:solidFill>
                  <a:srgbClr val="E6E7DB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algn="ctr"/>
            <a:r>
              <a:rPr lang="ru-RU" sz="2000" b="0" dirty="0" smtClean="0">
                <a:solidFill>
                  <a:srgbClr val="7030A0"/>
                </a:solidFill>
                <a:latin typeface="+mn-lt"/>
                <a:cs typeface="Arial" pitchFamily="34" charset="0"/>
              </a:rPr>
              <a:t>Основные характеристики консолидированного </a:t>
            </a:r>
            <a:r>
              <a:rPr lang="ru-RU" sz="2000" b="0" dirty="0">
                <a:solidFill>
                  <a:srgbClr val="7030A0"/>
                </a:solidFill>
                <a:latin typeface="+mn-lt"/>
                <a:cs typeface="Arial" pitchFamily="34" charset="0"/>
              </a:rPr>
              <a:t>бюджета </a:t>
            </a:r>
            <a:r>
              <a:rPr lang="ru-RU" sz="2000" b="0" dirty="0" smtClean="0">
                <a:solidFill>
                  <a:srgbClr val="7030A0"/>
                </a:solidFill>
                <a:latin typeface="+mn-lt"/>
                <a:cs typeface="Arial" pitchFamily="34" charset="0"/>
              </a:rPr>
              <a:t>муниципального образования «Тайшетский район»</a:t>
            </a:r>
            <a:r>
              <a:rPr lang="ru-RU" sz="2000" b="0" dirty="0">
                <a:solidFill>
                  <a:srgbClr val="7030A0"/>
                </a:solidFill>
                <a:latin typeface="+mn-lt"/>
                <a:cs typeface="Arial" pitchFamily="34" charset="0"/>
              </a:rPr>
              <a:t> </a:t>
            </a:r>
            <a:r>
              <a:rPr lang="ru-RU" sz="2000" b="0" dirty="0" smtClean="0">
                <a:solidFill>
                  <a:srgbClr val="7030A0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5" name="Содержимое 2"/>
          <p:cNvSpPr txBox="1">
            <a:spLocks/>
          </p:cNvSpPr>
          <p:nvPr/>
        </p:nvSpPr>
        <p:spPr>
          <a:xfrm>
            <a:off x="990600" y="1143001"/>
            <a:ext cx="7696200" cy="380999"/>
          </a:xfrm>
          <a:prstGeom prst="rect">
            <a:avLst/>
          </a:prstGeom>
          <a:solidFill>
            <a:schemeClr val="bg2"/>
          </a:solidFill>
        </p:spPr>
        <p:txBody>
          <a:bodyPr>
            <a:normAutofit/>
          </a:bodyPr>
          <a:lstStyle/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 2"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Распределение расходов консолидированного бюджета в 2017 году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Содержимое 2"/>
          <p:cNvSpPr txBox="1">
            <a:spLocks/>
          </p:cNvSpPr>
          <p:nvPr/>
        </p:nvSpPr>
        <p:spPr>
          <a:xfrm rot="10800000" flipV="1">
            <a:off x="1073534" y="1524001"/>
            <a:ext cx="7696200" cy="457200"/>
          </a:xfrm>
          <a:prstGeom prst="rect">
            <a:avLst/>
          </a:prstGeom>
        </p:spPr>
        <p:txBody>
          <a:bodyPr>
            <a:normAutofit fontScale="85000" lnSpcReduction="20000"/>
          </a:bodyPr>
          <a:lstStyle/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 2"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Расходы на социальную сферу – 1 611,6млн. рублей (68,1%)</a:t>
            </a:r>
            <a:r>
              <a:rPr kumimoji="0" lang="ru-RU" sz="1800" b="1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ли  21,7 тыс. рублей на душу населения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Содержимое 2"/>
          <p:cNvSpPr txBox="1">
            <a:spLocks/>
          </p:cNvSpPr>
          <p:nvPr/>
        </p:nvSpPr>
        <p:spPr>
          <a:xfrm rot="10800000" flipV="1">
            <a:off x="1225934" y="3962400"/>
            <a:ext cx="7696200" cy="457200"/>
          </a:xfrm>
          <a:prstGeom prst="rect">
            <a:avLst/>
          </a:prstGeom>
        </p:spPr>
        <p:txBody>
          <a:bodyPr>
            <a:normAutofit fontScale="85000" lnSpcReduction="20000"/>
          </a:bodyPr>
          <a:lstStyle/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Pct val="70000"/>
              <a:buFont typeface="Wingdings 2"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Расходы на прочие отрасли – 754,7 млн. рублей (31,9%)</a:t>
            </a:r>
            <a:r>
              <a:rPr kumimoji="0" lang="ru-RU" sz="1600" b="1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                                                                          или 10,2 тыс.</a:t>
            </a:r>
            <a:r>
              <a:rPr kumimoji="0" lang="ru-RU" sz="1600" b="1" i="0" u="none" strike="noStrike" kern="120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рублей на душу населения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aphicFrame>
        <p:nvGraphicFramePr>
          <p:cNvPr id="8" name="Диаграмма 7"/>
          <p:cNvGraphicFramePr/>
          <p:nvPr/>
        </p:nvGraphicFramePr>
        <p:xfrm>
          <a:off x="457200" y="1981200"/>
          <a:ext cx="8382000" cy="1981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Диаграмма 8"/>
          <p:cNvGraphicFramePr/>
          <p:nvPr/>
        </p:nvGraphicFramePr>
        <p:xfrm>
          <a:off x="457200" y="4572000"/>
          <a:ext cx="8382000" cy="2057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Группа 14"/>
          <p:cNvGrpSpPr/>
          <p:nvPr/>
        </p:nvGrpSpPr>
        <p:grpSpPr>
          <a:xfrm>
            <a:off x="457200" y="1447800"/>
            <a:ext cx="2819400" cy="2514601"/>
            <a:chOff x="457200" y="1942739"/>
            <a:chExt cx="4038600" cy="1829520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457200" y="2149379"/>
              <a:ext cx="4038600" cy="352800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7" name="Полилиния 16"/>
            <p:cNvSpPr/>
            <p:nvPr/>
          </p:nvSpPr>
          <p:spPr>
            <a:xfrm>
              <a:off x="659130" y="1942739"/>
              <a:ext cx="2827020" cy="498960"/>
            </a:xfrm>
            <a:custGeom>
              <a:avLst/>
              <a:gdLst>
                <a:gd name="connsiteX0" fmla="*/ 0 w 2827020"/>
                <a:gd name="connsiteY0" fmla="*/ 68881 h 413280"/>
                <a:gd name="connsiteX1" fmla="*/ 20175 w 2827020"/>
                <a:gd name="connsiteY1" fmla="*/ 20175 h 413280"/>
                <a:gd name="connsiteX2" fmla="*/ 68881 w 2827020"/>
                <a:gd name="connsiteY2" fmla="*/ 0 h 413280"/>
                <a:gd name="connsiteX3" fmla="*/ 2758139 w 2827020"/>
                <a:gd name="connsiteY3" fmla="*/ 0 h 413280"/>
                <a:gd name="connsiteX4" fmla="*/ 2806845 w 2827020"/>
                <a:gd name="connsiteY4" fmla="*/ 20175 h 413280"/>
                <a:gd name="connsiteX5" fmla="*/ 2827020 w 2827020"/>
                <a:gd name="connsiteY5" fmla="*/ 68881 h 413280"/>
                <a:gd name="connsiteX6" fmla="*/ 2827020 w 2827020"/>
                <a:gd name="connsiteY6" fmla="*/ 344399 h 413280"/>
                <a:gd name="connsiteX7" fmla="*/ 2806845 w 2827020"/>
                <a:gd name="connsiteY7" fmla="*/ 393105 h 413280"/>
                <a:gd name="connsiteX8" fmla="*/ 2758139 w 2827020"/>
                <a:gd name="connsiteY8" fmla="*/ 413280 h 413280"/>
                <a:gd name="connsiteX9" fmla="*/ 68881 w 2827020"/>
                <a:gd name="connsiteY9" fmla="*/ 413280 h 413280"/>
                <a:gd name="connsiteX10" fmla="*/ 20175 w 2827020"/>
                <a:gd name="connsiteY10" fmla="*/ 393105 h 413280"/>
                <a:gd name="connsiteX11" fmla="*/ 0 w 2827020"/>
                <a:gd name="connsiteY11" fmla="*/ 344399 h 413280"/>
                <a:gd name="connsiteX12" fmla="*/ 0 w 2827020"/>
                <a:gd name="connsiteY12" fmla="*/ 68881 h 413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27020" h="413280">
                  <a:moveTo>
                    <a:pt x="0" y="68881"/>
                  </a:moveTo>
                  <a:cubicBezTo>
                    <a:pt x="0" y="50613"/>
                    <a:pt x="7257" y="33092"/>
                    <a:pt x="20175" y="20175"/>
                  </a:cubicBezTo>
                  <a:cubicBezTo>
                    <a:pt x="33093" y="7257"/>
                    <a:pt x="50613" y="0"/>
                    <a:pt x="68881" y="0"/>
                  </a:cubicBezTo>
                  <a:lnTo>
                    <a:pt x="2758139" y="0"/>
                  </a:lnTo>
                  <a:cubicBezTo>
                    <a:pt x="2776407" y="0"/>
                    <a:pt x="2793928" y="7257"/>
                    <a:pt x="2806845" y="20175"/>
                  </a:cubicBezTo>
                  <a:cubicBezTo>
                    <a:pt x="2819763" y="33093"/>
                    <a:pt x="2827020" y="50613"/>
                    <a:pt x="2827020" y="68881"/>
                  </a:cubicBezTo>
                  <a:lnTo>
                    <a:pt x="2827020" y="344399"/>
                  </a:lnTo>
                  <a:cubicBezTo>
                    <a:pt x="2827020" y="362667"/>
                    <a:pt x="2819763" y="380188"/>
                    <a:pt x="2806845" y="393105"/>
                  </a:cubicBezTo>
                  <a:cubicBezTo>
                    <a:pt x="2793927" y="406023"/>
                    <a:pt x="2776407" y="413280"/>
                    <a:pt x="2758139" y="413280"/>
                  </a:cubicBezTo>
                  <a:lnTo>
                    <a:pt x="68881" y="413280"/>
                  </a:lnTo>
                  <a:cubicBezTo>
                    <a:pt x="50613" y="413280"/>
                    <a:pt x="33092" y="406023"/>
                    <a:pt x="20175" y="393105"/>
                  </a:cubicBezTo>
                  <a:cubicBezTo>
                    <a:pt x="7257" y="380187"/>
                    <a:pt x="0" y="362667"/>
                    <a:pt x="0" y="344399"/>
                  </a:cubicBezTo>
                  <a:lnTo>
                    <a:pt x="0" y="68881"/>
                  </a:lnTo>
                  <a:close/>
                </a:path>
              </a:pathLst>
            </a:custGeom>
            <a:solidFill>
              <a:schemeClr val="accent6">
                <a:alpha val="6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7030" tIns="20175" rIns="127030" bIns="20175" numCol="1" spcCol="1270" anchor="ctr" anchorCtr="0">
              <a:noAutofit/>
            </a:bodyPr>
            <a:lstStyle/>
            <a:p>
              <a:pPr lvl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kern="1200" dirty="0" smtClean="0"/>
                <a:t>Налоговые доходы</a:t>
              </a:r>
              <a:endParaRPr lang="ru-RU" sz="1400" kern="1200" dirty="0"/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457200" y="2784419"/>
              <a:ext cx="4038600" cy="352800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9" name="Полилиния 18"/>
            <p:cNvSpPr/>
            <p:nvPr/>
          </p:nvSpPr>
          <p:spPr>
            <a:xfrm>
              <a:off x="659130" y="2577779"/>
              <a:ext cx="2827020" cy="473759"/>
            </a:xfrm>
            <a:custGeom>
              <a:avLst/>
              <a:gdLst>
                <a:gd name="connsiteX0" fmla="*/ 0 w 2827020"/>
                <a:gd name="connsiteY0" fmla="*/ 68881 h 413280"/>
                <a:gd name="connsiteX1" fmla="*/ 20175 w 2827020"/>
                <a:gd name="connsiteY1" fmla="*/ 20175 h 413280"/>
                <a:gd name="connsiteX2" fmla="*/ 68881 w 2827020"/>
                <a:gd name="connsiteY2" fmla="*/ 0 h 413280"/>
                <a:gd name="connsiteX3" fmla="*/ 2758139 w 2827020"/>
                <a:gd name="connsiteY3" fmla="*/ 0 h 413280"/>
                <a:gd name="connsiteX4" fmla="*/ 2806845 w 2827020"/>
                <a:gd name="connsiteY4" fmla="*/ 20175 h 413280"/>
                <a:gd name="connsiteX5" fmla="*/ 2827020 w 2827020"/>
                <a:gd name="connsiteY5" fmla="*/ 68881 h 413280"/>
                <a:gd name="connsiteX6" fmla="*/ 2827020 w 2827020"/>
                <a:gd name="connsiteY6" fmla="*/ 344399 h 413280"/>
                <a:gd name="connsiteX7" fmla="*/ 2806845 w 2827020"/>
                <a:gd name="connsiteY7" fmla="*/ 393105 h 413280"/>
                <a:gd name="connsiteX8" fmla="*/ 2758139 w 2827020"/>
                <a:gd name="connsiteY8" fmla="*/ 413280 h 413280"/>
                <a:gd name="connsiteX9" fmla="*/ 68881 w 2827020"/>
                <a:gd name="connsiteY9" fmla="*/ 413280 h 413280"/>
                <a:gd name="connsiteX10" fmla="*/ 20175 w 2827020"/>
                <a:gd name="connsiteY10" fmla="*/ 393105 h 413280"/>
                <a:gd name="connsiteX11" fmla="*/ 0 w 2827020"/>
                <a:gd name="connsiteY11" fmla="*/ 344399 h 413280"/>
                <a:gd name="connsiteX12" fmla="*/ 0 w 2827020"/>
                <a:gd name="connsiteY12" fmla="*/ 68881 h 413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27020" h="413280">
                  <a:moveTo>
                    <a:pt x="0" y="68881"/>
                  </a:moveTo>
                  <a:cubicBezTo>
                    <a:pt x="0" y="50613"/>
                    <a:pt x="7257" y="33092"/>
                    <a:pt x="20175" y="20175"/>
                  </a:cubicBezTo>
                  <a:cubicBezTo>
                    <a:pt x="33093" y="7257"/>
                    <a:pt x="50613" y="0"/>
                    <a:pt x="68881" y="0"/>
                  </a:cubicBezTo>
                  <a:lnTo>
                    <a:pt x="2758139" y="0"/>
                  </a:lnTo>
                  <a:cubicBezTo>
                    <a:pt x="2776407" y="0"/>
                    <a:pt x="2793928" y="7257"/>
                    <a:pt x="2806845" y="20175"/>
                  </a:cubicBezTo>
                  <a:cubicBezTo>
                    <a:pt x="2819763" y="33093"/>
                    <a:pt x="2827020" y="50613"/>
                    <a:pt x="2827020" y="68881"/>
                  </a:cubicBezTo>
                  <a:lnTo>
                    <a:pt x="2827020" y="344399"/>
                  </a:lnTo>
                  <a:cubicBezTo>
                    <a:pt x="2827020" y="362667"/>
                    <a:pt x="2819763" y="380188"/>
                    <a:pt x="2806845" y="393105"/>
                  </a:cubicBezTo>
                  <a:cubicBezTo>
                    <a:pt x="2793927" y="406023"/>
                    <a:pt x="2776407" y="413280"/>
                    <a:pt x="2758139" y="413280"/>
                  </a:cubicBezTo>
                  <a:lnTo>
                    <a:pt x="68881" y="413280"/>
                  </a:lnTo>
                  <a:cubicBezTo>
                    <a:pt x="50613" y="413280"/>
                    <a:pt x="33092" y="406023"/>
                    <a:pt x="20175" y="393105"/>
                  </a:cubicBezTo>
                  <a:cubicBezTo>
                    <a:pt x="7257" y="380187"/>
                    <a:pt x="0" y="362667"/>
                    <a:pt x="0" y="344399"/>
                  </a:cubicBezTo>
                  <a:lnTo>
                    <a:pt x="0" y="68881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7030" tIns="20175" rIns="127030" bIns="20175" numCol="1" spcCol="1270" anchor="ctr" anchorCtr="0">
              <a:noAutofit/>
            </a:bodyPr>
            <a:lstStyle/>
            <a:p>
              <a:pPr lvl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kern="1200" dirty="0" smtClean="0"/>
                <a:t>Неналоговые доходы</a:t>
              </a:r>
              <a:endParaRPr lang="ru-RU" sz="1400" kern="1200" dirty="0"/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457200" y="3419459"/>
              <a:ext cx="4038600" cy="352800"/>
            </a:xfrm>
            <a:prstGeom prst="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1" name="Полилиния 20"/>
            <p:cNvSpPr/>
            <p:nvPr/>
          </p:nvSpPr>
          <p:spPr>
            <a:xfrm>
              <a:off x="659130" y="3212819"/>
              <a:ext cx="2827020" cy="504000"/>
            </a:xfrm>
            <a:custGeom>
              <a:avLst/>
              <a:gdLst>
                <a:gd name="connsiteX0" fmla="*/ 0 w 2827020"/>
                <a:gd name="connsiteY0" fmla="*/ 68881 h 413280"/>
                <a:gd name="connsiteX1" fmla="*/ 20175 w 2827020"/>
                <a:gd name="connsiteY1" fmla="*/ 20175 h 413280"/>
                <a:gd name="connsiteX2" fmla="*/ 68881 w 2827020"/>
                <a:gd name="connsiteY2" fmla="*/ 0 h 413280"/>
                <a:gd name="connsiteX3" fmla="*/ 2758139 w 2827020"/>
                <a:gd name="connsiteY3" fmla="*/ 0 h 413280"/>
                <a:gd name="connsiteX4" fmla="*/ 2806845 w 2827020"/>
                <a:gd name="connsiteY4" fmla="*/ 20175 h 413280"/>
                <a:gd name="connsiteX5" fmla="*/ 2827020 w 2827020"/>
                <a:gd name="connsiteY5" fmla="*/ 68881 h 413280"/>
                <a:gd name="connsiteX6" fmla="*/ 2827020 w 2827020"/>
                <a:gd name="connsiteY6" fmla="*/ 344399 h 413280"/>
                <a:gd name="connsiteX7" fmla="*/ 2806845 w 2827020"/>
                <a:gd name="connsiteY7" fmla="*/ 393105 h 413280"/>
                <a:gd name="connsiteX8" fmla="*/ 2758139 w 2827020"/>
                <a:gd name="connsiteY8" fmla="*/ 413280 h 413280"/>
                <a:gd name="connsiteX9" fmla="*/ 68881 w 2827020"/>
                <a:gd name="connsiteY9" fmla="*/ 413280 h 413280"/>
                <a:gd name="connsiteX10" fmla="*/ 20175 w 2827020"/>
                <a:gd name="connsiteY10" fmla="*/ 393105 h 413280"/>
                <a:gd name="connsiteX11" fmla="*/ 0 w 2827020"/>
                <a:gd name="connsiteY11" fmla="*/ 344399 h 413280"/>
                <a:gd name="connsiteX12" fmla="*/ 0 w 2827020"/>
                <a:gd name="connsiteY12" fmla="*/ 68881 h 413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827020" h="413280">
                  <a:moveTo>
                    <a:pt x="0" y="68881"/>
                  </a:moveTo>
                  <a:cubicBezTo>
                    <a:pt x="0" y="50613"/>
                    <a:pt x="7257" y="33092"/>
                    <a:pt x="20175" y="20175"/>
                  </a:cubicBezTo>
                  <a:cubicBezTo>
                    <a:pt x="33093" y="7257"/>
                    <a:pt x="50613" y="0"/>
                    <a:pt x="68881" y="0"/>
                  </a:cubicBezTo>
                  <a:lnTo>
                    <a:pt x="2758139" y="0"/>
                  </a:lnTo>
                  <a:cubicBezTo>
                    <a:pt x="2776407" y="0"/>
                    <a:pt x="2793928" y="7257"/>
                    <a:pt x="2806845" y="20175"/>
                  </a:cubicBezTo>
                  <a:cubicBezTo>
                    <a:pt x="2819763" y="33093"/>
                    <a:pt x="2827020" y="50613"/>
                    <a:pt x="2827020" y="68881"/>
                  </a:cubicBezTo>
                  <a:lnTo>
                    <a:pt x="2827020" y="344399"/>
                  </a:lnTo>
                  <a:cubicBezTo>
                    <a:pt x="2827020" y="362667"/>
                    <a:pt x="2819763" y="380188"/>
                    <a:pt x="2806845" y="393105"/>
                  </a:cubicBezTo>
                  <a:cubicBezTo>
                    <a:pt x="2793927" y="406023"/>
                    <a:pt x="2776407" y="413280"/>
                    <a:pt x="2758139" y="413280"/>
                  </a:cubicBezTo>
                  <a:lnTo>
                    <a:pt x="68881" y="413280"/>
                  </a:lnTo>
                  <a:cubicBezTo>
                    <a:pt x="50613" y="413280"/>
                    <a:pt x="33092" y="406023"/>
                    <a:pt x="20175" y="393105"/>
                  </a:cubicBezTo>
                  <a:cubicBezTo>
                    <a:pt x="7257" y="380187"/>
                    <a:pt x="0" y="362667"/>
                    <a:pt x="0" y="344399"/>
                  </a:cubicBezTo>
                  <a:lnTo>
                    <a:pt x="0" y="68881"/>
                  </a:lnTo>
                  <a:close/>
                </a:path>
              </a:pathLst>
            </a:custGeom>
            <a:solidFill>
              <a:srgbClr val="00B05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7030" tIns="20175" rIns="127030" bIns="20175" numCol="1" spcCol="1270" anchor="ctr" anchorCtr="0">
              <a:noAutofit/>
            </a:bodyPr>
            <a:lstStyle/>
            <a:p>
              <a:pPr lvl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kern="1200" dirty="0" smtClean="0"/>
                <a:t>Безвозмездные поступления</a:t>
              </a:r>
              <a:endParaRPr lang="ru-RU" sz="1400" kern="1200" dirty="0"/>
            </a:p>
          </p:txBody>
        </p:sp>
      </p:grpSp>
      <p:sp>
        <p:nvSpPr>
          <p:cNvPr id="5" name="Заголовок 1"/>
          <p:cNvSpPr txBox="1">
            <a:spLocks/>
          </p:cNvSpPr>
          <p:nvPr/>
        </p:nvSpPr>
        <p:spPr>
          <a:xfrm>
            <a:off x="1219200" y="228600"/>
            <a:ext cx="7696200" cy="533400"/>
          </a:xfrm>
          <a:prstGeom prst="rect">
            <a:avLst/>
          </a:prstGeom>
          <a:solidFill>
            <a:schemeClr val="bg1"/>
          </a:solidFill>
          <a:ln cap="sq">
            <a:solidFill>
              <a:schemeClr val="tx1"/>
            </a:solidFill>
            <a:prstDash val="solid"/>
          </a:ln>
        </p:spPr>
        <p:txBody>
          <a:bodyPr vert="horz" lIns="0" rIns="0" bIns="0" anchor="b">
            <a:noAutofit/>
          </a:bodyPr>
          <a:lstStyle/>
          <a:p>
            <a:pPr algn="ctr"/>
            <a:r>
              <a:rPr lang="ru-RU" sz="2000" dirty="0" smtClean="0">
                <a:solidFill>
                  <a:srgbClr val="7030A0"/>
                </a:solidFill>
                <a:cs typeface="Arial" pitchFamily="34" charset="0"/>
              </a:rPr>
              <a:t>Основные характеристики консолидированного бюджета муниципального образования «Тайшетский район»  </a:t>
            </a:r>
          </a:p>
        </p:txBody>
      </p:sp>
      <p:pic>
        <p:nvPicPr>
          <p:cNvPr id="1026" name="Picture 2" descr="C:\Users\finupr\Desktop\i4T1WJP8W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72000" y="4648200"/>
            <a:ext cx="1371600" cy="914400"/>
          </a:xfrm>
          <a:prstGeom prst="rect">
            <a:avLst/>
          </a:prstGeom>
          <a:noFill/>
        </p:spPr>
      </p:pic>
      <p:pic>
        <p:nvPicPr>
          <p:cNvPr id="1027" name="Picture 3" descr="C:\Users\finupr\Desktop\iBHZI4D0S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019800" y="5257800"/>
            <a:ext cx="1371600" cy="914400"/>
          </a:xfrm>
          <a:prstGeom prst="rect">
            <a:avLst/>
          </a:prstGeom>
          <a:noFill/>
        </p:spPr>
      </p:pic>
      <p:pic>
        <p:nvPicPr>
          <p:cNvPr id="1028" name="Picture 4" descr="C:\Users\finupr\Desktop\44d77de4e9672cd278db6de6abe22085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543800" y="5715000"/>
            <a:ext cx="1371600" cy="914400"/>
          </a:xfrm>
          <a:prstGeom prst="rect">
            <a:avLst/>
          </a:prstGeom>
          <a:noFill/>
        </p:spPr>
      </p:pic>
      <p:pic>
        <p:nvPicPr>
          <p:cNvPr id="8" name="Picture 2" descr="C:\Users\finupr\Desktop\gerb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" y="1"/>
            <a:ext cx="914399" cy="1066799"/>
          </a:xfrm>
          <a:prstGeom prst="rect">
            <a:avLst/>
          </a:prstGeom>
          <a:noFill/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914400" y="990600"/>
            <a:ext cx="7924800" cy="304800"/>
          </a:xfrm>
          <a:prstGeom prst="rect">
            <a:avLst/>
          </a:prstGeom>
          <a:solidFill>
            <a:schemeClr val="bg1"/>
          </a:solidFill>
          <a:ln cap="sq">
            <a:solidFill>
              <a:schemeClr val="tx1"/>
            </a:solidFill>
            <a:prstDash val="solid"/>
          </a:ln>
        </p:spPr>
        <p:txBody>
          <a:bodyPr vert="horz" lIns="0" rIns="0" bIns="0" anchor="b">
            <a:normAutofit fontScale="97500" lnSpcReduction="1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Batang" pitchFamily="18" charset="-127"/>
                <a:cs typeface="Arial" pitchFamily="34" charset="0"/>
              </a:rPr>
              <a:t>К доходам консолидированного бюджета относятся: 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11" name="Заголовок 1"/>
          <p:cNvSpPr txBox="1">
            <a:spLocks/>
          </p:cNvSpPr>
          <p:nvPr/>
        </p:nvSpPr>
        <p:spPr>
          <a:xfrm>
            <a:off x="3276600" y="1295400"/>
            <a:ext cx="5715000" cy="1219200"/>
          </a:xfrm>
          <a:prstGeom prst="rect">
            <a:avLst/>
          </a:prstGeom>
          <a:solidFill>
            <a:schemeClr val="accent6">
              <a:lumMod val="20000"/>
              <a:lumOff val="80000"/>
              <a:alpha val="80000"/>
            </a:schemeClr>
          </a:solidFill>
          <a:ln cap="sq">
            <a:solidFill>
              <a:schemeClr val="tx1"/>
            </a:solidFill>
            <a:prstDash val="solid"/>
          </a:ln>
        </p:spPr>
        <p:txBody>
          <a:bodyPr vert="horz" lIns="0" tIns="0" rIns="0" bIns="0" anchor="b">
            <a:normAutofit fontScale="25000" lnSpcReduction="20000"/>
          </a:bodyPr>
          <a:lstStyle/>
          <a:p>
            <a:endParaRPr lang="ru-RU" sz="1200" dirty="0" smtClean="0"/>
          </a:p>
          <a:p>
            <a:endParaRPr lang="ru-RU" sz="1200" dirty="0" smtClean="0"/>
          </a:p>
          <a:p>
            <a:pPr algn="just"/>
            <a:endParaRPr lang="ru-RU" sz="1200" dirty="0" smtClean="0"/>
          </a:p>
          <a:p>
            <a:pPr algn="just"/>
            <a:endParaRPr lang="ru-RU" sz="1200" dirty="0" smtClean="0"/>
          </a:p>
          <a:p>
            <a:pPr algn="just"/>
            <a:endParaRPr lang="ru-RU" sz="1200" dirty="0" smtClean="0"/>
          </a:p>
          <a:p>
            <a:pPr algn="just"/>
            <a:endParaRPr lang="ru-RU" sz="1200" dirty="0" smtClean="0"/>
          </a:p>
          <a:p>
            <a:pPr algn="just"/>
            <a:endParaRPr lang="ru-RU" sz="1200" dirty="0" smtClean="0"/>
          </a:p>
          <a:p>
            <a:pPr algn="just"/>
            <a:endParaRPr lang="ru-RU" sz="1200" dirty="0" smtClean="0"/>
          </a:p>
          <a:p>
            <a:pPr algn="just"/>
            <a:endParaRPr lang="ru-RU" sz="1200" dirty="0" smtClean="0"/>
          </a:p>
          <a:p>
            <a:pPr algn="just"/>
            <a:endParaRPr lang="ru-RU" sz="1200" dirty="0" smtClean="0"/>
          </a:p>
          <a:p>
            <a:pPr algn="just"/>
            <a:endParaRPr lang="ru-RU" sz="1200" dirty="0" smtClean="0"/>
          </a:p>
          <a:p>
            <a:pPr>
              <a:lnSpc>
                <a:spcPct val="120000"/>
              </a:lnSpc>
              <a:buFont typeface="Wingdings" pitchFamily="2" charset="2"/>
              <a:buChar char="ü"/>
            </a:pPr>
            <a:endParaRPr lang="ru-RU" sz="4000" dirty="0" smtClean="0"/>
          </a:p>
          <a:p>
            <a:pPr>
              <a:lnSpc>
                <a:spcPct val="120000"/>
              </a:lnSpc>
              <a:buFont typeface="Wingdings" pitchFamily="2" charset="2"/>
              <a:buChar char="ü"/>
            </a:pPr>
            <a:endParaRPr lang="ru-RU" sz="4000" dirty="0" smtClean="0"/>
          </a:p>
          <a:p>
            <a:pPr>
              <a:lnSpc>
                <a:spcPct val="120000"/>
              </a:lnSpc>
              <a:buFont typeface="Wingdings" pitchFamily="2" charset="2"/>
              <a:buChar char="ü"/>
            </a:pPr>
            <a:endParaRPr lang="ru-RU" sz="4000" dirty="0" smtClean="0"/>
          </a:p>
          <a:p>
            <a:pPr>
              <a:lnSpc>
                <a:spcPct val="120000"/>
              </a:lnSpc>
              <a:buFont typeface="Wingdings" pitchFamily="2" charset="2"/>
              <a:buChar char="ü"/>
            </a:pPr>
            <a:endParaRPr lang="ru-RU" sz="4000" dirty="0" smtClean="0"/>
          </a:p>
          <a:p>
            <a:pPr>
              <a:lnSpc>
                <a:spcPct val="120000"/>
              </a:lnSpc>
              <a:buFont typeface="Wingdings" pitchFamily="2" charset="2"/>
              <a:buChar char="ü"/>
            </a:pPr>
            <a:endParaRPr lang="ru-RU" sz="4000" dirty="0" smtClean="0"/>
          </a:p>
          <a:p>
            <a:pPr>
              <a:lnSpc>
                <a:spcPct val="120000"/>
              </a:lnSpc>
              <a:buFont typeface="Wingdings" pitchFamily="2" charset="2"/>
              <a:buChar char="ü"/>
            </a:pPr>
            <a:endParaRPr lang="ru-RU" sz="4000" dirty="0" smtClean="0"/>
          </a:p>
          <a:p>
            <a:pPr>
              <a:lnSpc>
                <a:spcPct val="120000"/>
              </a:lnSpc>
            </a:pPr>
            <a:endParaRPr lang="ru-RU" sz="4000" dirty="0" smtClean="0"/>
          </a:p>
          <a:p>
            <a:pPr>
              <a:lnSpc>
                <a:spcPct val="120000"/>
              </a:lnSpc>
              <a:buFont typeface="Wingdings" pitchFamily="2" charset="2"/>
              <a:buChar char="ü"/>
            </a:pPr>
            <a:endParaRPr lang="ru-RU" sz="4000" dirty="0" smtClean="0"/>
          </a:p>
          <a:p>
            <a:pPr>
              <a:lnSpc>
                <a:spcPct val="120000"/>
              </a:lnSpc>
              <a:buFont typeface="Wingdings" pitchFamily="2" charset="2"/>
              <a:buChar char="ü"/>
            </a:pPr>
            <a:endParaRPr lang="ru-RU" sz="4000" dirty="0" smtClean="0"/>
          </a:p>
          <a:p>
            <a:pPr>
              <a:lnSpc>
                <a:spcPct val="120000"/>
              </a:lnSpc>
              <a:buFont typeface="Wingdings" pitchFamily="2" charset="2"/>
              <a:buChar char="ü"/>
            </a:pPr>
            <a:endParaRPr lang="ru-RU" sz="4000" dirty="0" smtClean="0"/>
          </a:p>
          <a:p>
            <a:pPr>
              <a:lnSpc>
                <a:spcPct val="120000"/>
              </a:lnSpc>
              <a:buFont typeface="Wingdings" pitchFamily="2" charset="2"/>
              <a:buChar char="ü"/>
            </a:pPr>
            <a:endParaRPr lang="ru-RU" sz="4000" dirty="0" smtClean="0"/>
          </a:p>
          <a:p>
            <a:pPr>
              <a:lnSpc>
                <a:spcPct val="120000"/>
              </a:lnSpc>
            </a:pPr>
            <a:endParaRPr lang="ru-RU" sz="4000" dirty="0" smtClean="0"/>
          </a:p>
          <a:p>
            <a:pPr>
              <a:lnSpc>
                <a:spcPct val="120000"/>
              </a:lnSpc>
              <a:buFont typeface="Wingdings" pitchFamily="2" charset="2"/>
              <a:buChar char="ü"/>
            </a:pPr>
            <a:r>
              <a:rPr lang="ru-RU" sz="4000" dirty="0" smtClean="0"/>
              <a:t>налог на доходы физических лиц;</a:t>
            </a:r>
          </a:p>
          <a:p>
            <a:pPr>
              <a:lnSpc>
                <a:spcPct val="120000"/>
              </a:lnSpc>
              <a:buFont typeface="Wingdings" pitchFamily="2" charset="2"/>
              <a:buChar char="ü"/>
            </a:pPr>
            <a:r>
              <a:rPr lang="ru-RU" sz="4000" dirty="0" smtClean="0"/>
              <a:t>акцизы на нефтепродукты;</a:t>
            </a:r>
          </a:p>
          <a:p>
            <a:pPr algn="just">
              <a:buFont typeface="Wingdings" pitchFamily="2" charset="2"/>
              <a:buChar char="ü"/>
            </a:pPr>
            <a:r>
              <a:rPr lang="ru-RU" sz="4000" dirty="0" smtClean="0"/>
              <a:t>единый налог на вмененный доход для отдельных видов деятельности;</a:t>
            </a:r>
          </a:p>
          <a:p>
            <a:pPr algn="just">
              <a:buFont typeface="Wingdings" pitchFamily="2" charset="2"/>
              <a:buChar char="ü"/>
            </a:pPr>
            <a:r>
              <a:rPr lang="ru-RU" sz="4000" dirty="0" smtClean="0"/>
              <a:t> единый сельскохозяйственный налог;</a:t>
            </a:r>
          </a:p>
          <a:p>
            <a:pPr algn="just">
              <a:buFont typeface="Wingdings" pitchFamily="2" charset="2"/>
              <a:buChar char="ü"/>
            </a:pPr>
            <a:r>
              <a:rPr lang="ru-RU" sz="4000" dirty="0" smtClean="0"/>
              <a:t>Налог, взимаемый а связи с применением упрощенной системы налогообложения;</a:t>
            </a:r>
          </a:p>
          <a:p>
            <a:pPr algn="just">
              <a:buFont typeface="Wingdings" pitchFamily="2" charset="2"/>
              <a:buChar char="ü"/>
            </a:pPr>
            <a:r>
              <a:rPr lang="ru-RU" sz="4000" dirty="0" smtClean="0"/>
              <a:t>налог, взимаемый в связи с применением патентной системы налогообложения;</a:t>
            </a:r>
          </a:p>
          <a:p>
            <a:pPr algn="just">
              <a:buFont typeface="Wingdings" pitchFamily="2" charset="2"/>
              <a:buChar char="ü"/>
            </a:pPr>
            <a:r>
              <a:rPr lang="ru-RU" sz="4000" dirty="0" smtClean="0"/>
              <a:t>земельный налог;</a:t>
            </a:r>
          </a:p>
          <a:p>
            <a:pPr algn="just">
              <a:buFont typeface="Wingdings" pitchFamily="2" charset="2"/>
              <a:buChar char="ü"/>
            </a:pPr>
            <a:r>
              <a:rPr lang="ru-RU" sz="4000" dirty="0" smtClean="0"/>
              <a:t>налог на имущество физических лиц;</a:t>
            </a:r>
          </a:p>
          <a:p>
            <a:pPr algn="just">
              <a:buFont typeface="Wingdings" pitchFamily="2" charset="2"/>
              <a:buChar char="ü"/>
            </a:pPr>
            <a:r>
              <a:rPr lang="ru-RU" sz="4000" dirty="0" smtClean="0"/>
              <a:t>государственная пошлина.</a:t>
            </a:r>
          </a:p>
          <a:p>
            <a:endParaRPr lang="ru-RU" dirty="0" smtClean="0"/>
          </a:p>
        </p:txBody>
      </p:sp>
      <p:sp>
        <p:nvSpPr>
          <p:cNvPr id="12" name="Заголовок 1"/>
          <p:cNvSpPr txBox="1">
            <a:spLocks/>
          </p:cNvSpPr>
          <p:nvPr/>
        </p:nvSpPr>
        <p:spPr>
          <a:xfrm>
            <a:off x="4800600" y="4267200"/>
            <a:ext cx="4038600" cy="304800"/>
          </a:xfrm>
          <a:prstGeom prst="rect">
            <a:avLst/>
          </a:prstGeom>
          <a:solidFill>
            <a:schemeClr val="bg1"/>
          </a:solidFill>
          <a:ln cap="sq">
            <a:solidFill>
              <a:schemeClr val="accent5">
                <a:lumMod val="60000"/>
                <a:lumOff val="40000"/>
              </a:schemeClr>
            </a:solidFill>
            <a:prstDash val="solid"/>
          </a:ln>
          <a:scene3d>
            <a:camera prst="orthographicFront"/>
            <a:lightRig rig="threePt" dir="t"/>
          </a:scene3d>
          <a:sp3d>
            <a:bevelT w="101600" prst="riblet"/>
          </a:sp3d>
        </p:spPr>
        <p:txBody>
          <a:bodyPr vert="horz" lIns="0" rIns="0" bIns="0" anchor="b">
            <a:normAutofit fontScale="97500" lnSpcReduction="1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Batang" pitchFamily="18" charset="-127"/>
                <a:cs typeface="Arial" pitchFamily="34" charset="0"/>
              </a:rPr>
              <a:t>Крупные налогоплательщики: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14" name="Заголовок 1"/>
          <p:cNvSpPr txBox="1">
            <a:spLocks/>
          </p:cNvSpPr>
          <p:nvPr/>
        </p:nvSpPr>
        <p:spPr>
          <a:xfrm>
            <a:off x="381000" y="4419600"/>
            <a:ext cx="3962400" cy="685800"/>
          </a:xfrm>
          <a:prstGeom prst="rect">
            <a:avLst/>
          </a:prstGeom>
          <a:gradFill>
            <a:gsLst>
              <a:gs pos="0">
                <a:srgbClr val="FFEFD1"/>
              </a:gs>
              <a:gs pos="64999">
                <a:srgbClr val="F0EBD5"/>
              </a:gs>
              <a:gs pos="100000">
                <a:srgbClr val="D1C39F"/>
              </a:gs>
            </a:gsLst>
            <a:lin ang="5400000" scaled="0"/>
          </a:gradFill>
          <a:ln cap="sq">
            <a:solidFill>
              <a:schemeClr val="tx1"/>
            </a:solidFill>
            <a:prstDash val="solid"/>
          </a:ln>
          <a:scene3d>
            <a:camera prst="orthographicFront"/>
            <a:lightRig rig="threePt" dir="t"/>
          </a:scene3d>
          <a:sp3d>
            <a:bevelT w="101600" prst="riblet"/>
          </a:sp3d>
        </p:spPr>
        <p:txBody>
          <a:bodyPr vert="horz" lIns="0" rIns="0" bIns="0" anchor="b">
            <a:normAutofit fontScale="9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j-ea"/>
                <a:cs typeface="+mj-cs"/>
              </a:rPr>
              <a:t>Главным администратором налоговых и неналоговых доходов является Федеральная налоговая служба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  <p:sp>
        <p:nvSpPr>
          <p:cNvPr id="22" name="Заголовок 1"/>
          <p:cNvSpPr txBox="1">
            <a:spLocks/>
          </p:cNvSpPr>
          <p:nvPr/>
        </p:nvSpPr>
        <p:spPr>
          <a:xfrm>
            <a:off x="381000" y="5334000"/>
            <a:ext cx="4038600" cy="1066800"/>
          </a:xfrm>
          <a:prstGeom prst="rect">
            <a:avLst/>
          </a:prstGeom>
          <a:gradFill>
            <a:gsLst>
              <a:gs pos="0">
                <a:srgbClr val="FFEFD1"/>
              </a:gs>
              <a:gs pos="64999">
                <a:srgbClr val="F0EBD5"/>
              </a:gs>
              <a:gs pos="100000">
                <a:srgbClr val="D1C39F"/>
              </a:gs>
            </a:gsLst>
            <a:lin ang="5400000" scaled="0"/>
          </a:gradFill>
          <a:ln cap="sq">
            <a:solidFill>
              <a:schemeClr val="tx1"/>
            </a:solidFill>
            <a:prstDash val="solid"/>
          </a:ln>
        </p:spPr>
        <p:txBody>
          <a:bodyPr vert="horz" lIns="0" rIns="0" bIns="0" anchor="b">
            <a:normAutofit fontScale="82500" lnSpcReduction="20000"/>
          </a:bodyPr>
          <a:lstStyle/>
          <a:p>
            <a:pPr algn="ctr">
              <a:spcBef>
                <a:spcPct val="0"/>
              </a:spcBef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Batang" pitchFamily="18" charset="-127"/>
                <a:cs typeface="Arial" pitchFamily="34" charset="0"/>
              </a:rPr>
              <a:t>Основным доходным источником является</a:t>
            </a:r>
            <a:r>
              <a:rPr lang="ru-RU" dirty="0" smtClean="0"/>
              <a:t> налог на доходы физических лиц,  удельный вес которого составил в 2017 году 61,4% от общего объема  налоговых и неналоговых доходов консолидированного бюджета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sp>
        <p:nvSpPr>
          <p:cNvPr id="23" name="Заголовок 1"/>
          <p:cNvSpPr txBox="1">
            <a:spLocks/>
          </p:cNvSpPr>
          <p:nvPr/>
        </p:nvSpPr>
        <p:spPr>
          <a:xfrm>
            <a:off x="3276600" y="2590800"/>
            <a:ext cx="5486400" cy="762000"/>
          </a:xfrm>
          <a:prstGeom prst="rect">
            <a:avLst/>
          </a:prstGeom>
          <a:solidFill>
            <a:schemeClr val="accent5">
              <a:lumMod val="20000"/>
              <a:lumOff val="80000"/>
              <a:alpha val="70000"/>
            </a:schemeClr>
          </a:solidFill>
          <a:ln cap="sq">
            <a:solidFill>
              <a:schemeClr val="tx1"/>
            </a:solidFill>
            <a:prstDash val="solid"/>
          </a:ln>
        </p:spPr>
        <p:txBody>
          <a:bodyPr vert="horz" wrap="square" lIns="0" tIns="0" rIns="0" bIns="0" anchor="ctr" anchorCtr="0">
            <a:normAutofit fontScale="25000" lnSpcReduction="20000"/>
          </a:bodyPr>
          <a:lstStyle/>
          <a:p>
            <a:endParaRPr lang="ru-RU" sz="1000" dirty="0" smtClean="0"/>
          </a:p>
          <a:p>
            <a:endParaRPr lang="ru-RU" sz="1000" dirty="0" smtClean="0"/>
          </a:p>
          <a:p>
            <a:endParaRPr lang="ru-RU" sz="1000" dirty="0" smtClean="0"/>
          </a:p>
          <a:p>
            <a:pPr>
              <a:buFont typeface="Wingdings" pitchFamily="2" charset="2"/>
              <a:buChar char="ü"/>
            </a:pPr>
            <a:r>
              <a:rPr lang="ru-RU" sz="4000" dirty="0" smtClean="0"/>
              <a:t>доходы от использования имущества, находящегося в муниципальной собственности;</a:t>
            </a:r>
          </a:p>
          <a:p>
            <a:pPr>
              <a:buFont typeface="Wingdings" pitchFamily="2" charset="2"/>
              <a:buChar char="ü"/>
            </a:pPr>
            <a:r>
              <a:rPr lang="ru-RU" sz="4000" dirty="0" smtClean="0"/>
              <a:t> доходы от продажи имущества, находящегося в муниципальной собственности;</a:t>
            </a:r>
          </a:p>
          <a:p>
            <a:pPr>
              <a:buFont typeface="Wingdings" pitchFamily="2" charset="2"/>
              <a:buChar char="ü"/>
            </a:pPr>
            <a:r>
              <a:rPr lang="ru-RU" sz="4000" dirty="0" smtClean="0"/>
              <a:t>доходы от платных услуг (работ) и компенсации затрат государства;</a:t>
            </a:r>
          </a:p>
          <a:p>
            <a:pPr>
              <a:buFont typeface="Wingdings" pitchFamily="2" charset="2"/>
              <a:buChar char="ü"/>
            </a:pPr>
            <a:r>
              <a:rPr lang="ru-RU" sz="4000" dirty="0" smtClean="0"/>
              <a:t> плата за негативное воздействие на окружающую среду; </a:t>
            </a:r>
          </a:p>
          <a:p>
            <a:pPr>
              <a:buFont typeface="Wingdings" pitchFamily="2" charset="2"/>
              <a:buChar char="ü"/>
            </a:pPr>
            <a:r>
              <a:rPr lang="ru-RU" sz="4000" dirty="0" smtClean="0"/>
              <a:t>денежные взыскания (штрафы) за нарушение законодательства Российской Федерации;</a:t>
            </a:r>
          </a:p>
          <a:p>
            <a:pPr>
              <a:buFont typeface="Wingdings" pitchFamily="2" charset="2"/>
              <a:buChar char="ü"/>
            </a:pPr>
            <a:r>
              <a:rPr lang="ru-RU" sz="4000" dirty="0" smtClean="0"/>
              <a:t>прочие неналоговые доходы.</a:t>
            </a:r>
          </a:p>
          <a:p>
            <a:endParaRPr lang="ru-RU" sz="1000" dirty="0" smtClean="0"/>
          </a:p>
          <a:p>
            <a:endParaRPr lang="ru-RU" sz="1000" dirty="0" smtClean="0"/>
          </a:p>
          <a:p>
            <a:endParaRPr lang="ru-RU" dirty="0" smtClean="0"/>
          </a:p>
        </p:txBody>
      </p:sp>
      <p:sp>
        <p:nvSpPr>
          <p:cNvPr id="24" name="Заголовок 1"/>
          <p:cNvSpPr txBox="1">
            <a:spLocks/>
          </p:cNvSpPr>
          <p:nvPr/>
        </p:nvSpPr>
        <p:spPr>
          <a:xfrm>
            <a:off x="3276600" y="3505200"/>
            <a:ext cx="5715000" cy="762000"/>
          </a:xfrm>
          <a:prstGeom prst="rect">
            <a:avLst/>
          </a:prstGeom>
          <a:solidFill>
            <a:srgbClr val="92D050">
              <a:alpha val="64000"/>
            </a:srgbClr>
          </a:solidFill>
          <a:ln cap="sq">
            <a:solidFill>
              <a:schemeClr val="tx1"/>
            </a:solidFill>
            <a:prstDash val="solid"/>
          </a:ln>
        </p:spPr>
        <p:txBody>
          <a:bodyPr vert="horz" lIns="0" rIns="0" bIns="0" anchor="b">
            <a:normAutofit fontScale="47500" lnSpcReduction="20000"/>
          </a:bodyPr>
          <a:lstStyle/>
          <a:p>
            <a:pPr>
              <a:buFont typeface="Wingdings" pitchFamily="2" charset="2"/>
              <a:buChar char="ü"/>
            </a:pPr>
            <a:r>
              <a:rPr lang="ru-RU" dirty="0" smtClean="0"/>
              <a:t>дотации из других бюджетов бюджетной системы Российской Федерации;</a:t>
            </a:r>
          </a:p>
          <a:p>
            <a:pPr>
              <a:buFont typeface="Wingdings" pitchFamily="2" charset="2"/>
              <a:buChar char="ü"/>
            </a:pPr>
            <a:r>
              <a:rPr lang="ru-RU" dirty="0" smtClean="0"/>
              <a:t>субсидии из других бюджетов бюджетной системы Российской Федерации (межбюджетные субсидии);</a:t>
            </a:r>
          </a:p>
          <a:p>
            <a:pPr>
              <a:buFont typeface="Wingdings" pitchFamily="2" charset="2"/>
              <a:buChar char="ü"/>
            </a:pPr>
            <a:r>
              <a:rPr lang="ru-RU" dirty="0" smtClean="0"/>
              <a:t>субвенции из федерального бюджета и (или) из бюджетов субъектов Российской Федерации;</a:t>
            </a:r>
          </a:p>
          <a:p>
            <a:pPr>
              <a:buFont typeface="Wingdings" pitchFamily="2" charset="2"/>
              <a:buChar char="ü"/>
            </a:pPr>
            <a:r>
              <a:rPr lang="ru-RU" dirty="0" smtClean="0"/>
              <a:t>иные межбюджетные трансферты из других бюджетов бюджетной системы Российской Федерации;</a:t>
            </a:r>
          </a:p>
          <a:p>
            <a:pPr>
              <a:buFont typeface="Wingdings" pitchFamily="2" charset="2"/>
              <a:buChar char="ü"/>
            </a:pPr>
            <a:r>
              <a:rPr lang="ru-RU" dirty="0" smtClean="0"/>
              <a:t>безвозмездные поступления от физических и юридических лиц, в том числе добровольные пожертвования.</a:t>
            </a:r>
          </a:p>
          <a:p>
            <a:endParaRPr lang="ru-RU" dirty="0" smtClean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.0p771t80CY8AJPTZdv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.0p771t80CY8AJPTZdv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.0p771t80CY8AJPTZdvDg"/>
</p:tagLst>
</file>

<file path=ppt/theme/theme1.xml><?xml version="1.0" encoding="utf-8"?>
<a:theme xmlns:a="http://schemas.openxmlformats.org/drawingml/2006/main" name="Тема Office">
  <a:themeElements>
    <a:clrScheme name="Метро">
      <a:dk1>
        <a:sysClr val="windowText" lastClr="000000"/>
      </a:dk1>
      <a:lt1>
        <a:sysClr val="window" lastClr="FFFFFF"/>
      </a:lt1>
      <a:dk2>
        <a:srgbClr val="4E5B6F"/>
      </a:dk2>
      <a:lt2>
        <a:srgbClr val="D6ECFF"/>
      </a:lt2>
      <a:accent1>
        <a:srgbClr val="7FD13B"/>
      </a:accent1>
      <a:accent2>
        <a:srgbClr val="EA157A"/>
      </a:accent2>
      <a:accent3>
        <a:srgbClr val="FEB80A"/>
      </a:accent3>
      <a:accent4>
        <a:srgbClr val="00ADDC"/>
      </a:accent4>
      <a:accent5>
        <a:srgbClr val="738AC8"/>
      </a:accent5>
      <a:accent6>
        <a:srgbClr val="1AB39F"/>
      </a:accent6>
      <a:hlink>
        <a:srgbClr val="EB8803"/>
      </a:hlink>
      <a:folHlink>
        <a:srgbClr val="5F7791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132</TotalTime>
  <Words>7561</Words>
  <Application>Microsoft Office PowerPoint</Application>
  <PresentationFormat>Экран (4:3)</PresentationFormat>
  <Paragraphs>1252</Paragraphs>
  <Slides>49</Slides>
  <Notes>2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49</vt:i4>
      </vt:variant>
    </vt:vector>
  </HeadingPairs>
  <TitlesOfParts>
    <vt:vector size="50" baseType="lpstr">
      <vt:lpstr>Тема Office</vt:lpstr>
      <vt:lpstr> </vt:lpstr>
      <vt:lpstr>Слайд 2</vt:lpstr>
      <vt:lpstr>Основные показатели   развития  экономики  муниципального образования «Тайшетский район»  в 2017 году</vt:lpstr>
      <vt:lpstr>Бюджетная система и Бюджетный процесс</vt:lpstr>
      <vt:lpstr>Бюджетная система и бюджетный процесс</vt:lpstr>
      <vt:lpstr>Слайд 6</vt:lpstr>
      <vt:lpstr>Слайд 7</vt:lpstr>
      <vt:lpstr>Слайд 8</vt:lpstr>
      <vt:lpstr>Слайд 9</vt:lpstr>
      <vt:lpstr>Слайд 10</vt:lpstr>
      <vt:lpstr>Результаты бюджетной политики муниципального образования «Тайшетский район», достигнутые в 2017 году</vt:lpstr>
      <vt:lpstr>Бюджет муниципального образования «Тайшетский район»                                                                             итоги  исполнения  районного  бюджета  за 2017 год                                                                                                                              </vt:lpstr>
      <vt:lpstr>Слайд 13</vt:lpstr>
      <vt:lpstr>Структура исполнения бюджета по основным источникам налоговых и  неналоговых доходов за 2017 год</vt:lpstr>
      <vt:lpstr>Поступление налоговых и неналоговых доходов   в 2016 – 2017 годах</vt:lpstr>
      <vt:lpstr>Структура исполнения бюджета по безвозмездным поступлениям   за 2017 год</vt:lpstr>
      <vt:lpstr>Безвозмездные поступления в 2016 – 2017 годах</vt:lpstr>
      <vt:lpstr>Слайд 18</vt:lpstr>
      <vt:lpstr>Слайд 19</vt:lpstr>
      <vt:lpstr>Исполнение расходной части районного бюджета в 2017 году</vt:lpstr>
      <vt:lpstr>Муниципальная программа муниципального образования «Тайшетский  район»  «Молодым семьям – доступное жилье» на 2014 – 2019 годы</vt:lpstr>
      <vt:lpstr>Муниципальная программа «Управление муниципальными финансами в муниципальном образовании «Тайшетский район» на 2014 – 2019 годы</vt:lpstr>
      <vt:lpstr>Слайд 23</vt:lpstr>
      <vt:lpstr>Слайд 24</vt:lpstr>
      <vt:lpstr>Муниципальная программа «Стимулирование экономической активности»                   на 2015– 2018 годы</vt:lpstr>
      <vt:lpstr>Слайд 26</vt:lpstr>
      <vt:lpstr>                                                                                                                                                                              Муниципальная программа  муниципального образования «Тайшетский район»«Развитие муниципальной системы образования»                                         на 2015 – 2019 годы</vt:lpstr>
      <vt:lpstr>Финансовое обеспечение реализации подпрограмм муниципальной программы «Развитие муниципальной системы образования» за 2017 год</vt:lpstr>
      <vt:lpstr>Реализация муниципальной программы «Развитие муниципальной системы образования» за 2017 год</vt:lpstr>
      <vt:lpstr>Слайд 30</vt:lpstr>
      <vt:lpstr>Слайд 31</vt:lpstr>
      <vt:lpstr>Слайд 32</vt:lpstr>
      <vt:lpstr>Муниципальная программа  муниципального образования «Тайшетский район»«Развитие культуры» на 2015 – 2019 годы </vt:lpstr>
      <vt:lpstr>Финансовое обеспечение реализации муниципальной программы «Развитие культуры» за 2017 год</vt:lpstr>
      <vt:lpstr>Слайд 35</vt:lpstr>
      <vt:lpstr>Реализация муниципальной программы «Развитие культуры» за 2017 год</vt:lpstr>
      <vt:lpstr>Реализация муниципальной программы «Развитие культуры» за 2017 год</vt:lpstr>
      <vt:lpstr>Муниципальная программа «Социальная поддержка отдельных категорий населения муниципального образования «Тайшетский район» на 2017 – 2019 годы                                </vt:lpstr>
      <vt:lpstr>Финансовое обеспечение реализации муниципальной программы «Социальная поддержка отдельных категорий населения муниципального образования «Тайшетский район» за 2017 год</vt:lpstr>
      <vt:lpstr>Слайд 40</vt:lpstr>
      <vt:lpstr>Слайд 41</vt:lpstr>
      <vt:lpstr>Муниципальная программа «муниципальное  Управление»                                 на 2015– 2019 годы»</vt:lpstr>
      <vt:lpstr>Слайд 43</vt:lpstr>
      <vt:lpstr>Слайд 44</vt:lpstr>
      <vt:lpstr>Слайд 45</vt:lpstr>
      <vt:lpstr>Слайд 46</vt:lpstr>
      <vt:lpstr>Слайд 47</vt:lpstr>
      <vt:lpstr>Расходы бюджета на реализацию непрограммных направлений деятельности за 2017 год                                                                                                                                 </vt:lpstr>
      <vt:lpstr>Спасибо за внимание!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Administrator</dc:creator>
  <cp:lastModifiedBy>Финуправление</cp:lastModifiedBy>
  <cp:revision>1888</cp:revision>
  <dcterms:modified xsi:type="dcterms:W3CDTF">2018-05-21T03:24:27Z</dcterms:modified>
</cp:coreProperties>
</file>